
<file path=[Content_Types].xml><?xml version="1.0" encoding="utf-8"?>
<Types xmlns="http://schemas.openxmlformats.org/package/2006/content-types"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659" r:id="rId6"/>
  </p:sldMasterIdLst>
  <p:notesMasterIdLst>
    <p:notesMasterId r:id="rId8"/>
  </p:notesMasterIdLst>
  <p:sldIdLst>
    <p:sldId id="2147474180" r:id="rId7"/>
  </p:sldIdLst>
  <p:sldSz cx="12192000" cy="6858000"/>
  <p:notesSz cx="6858000" cy="9144000"/>
  <p:custDataLst>
    <p:tags r:id="rId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8F1489E-94F2-4EAA-963C-6F0E6DD0FF51}">
          <p14:sldIdLst>
            <p14:sldId id="214747418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807B48-74BA-4378-1269-BF12877FA401}" name="TALBOURDET David (Renewable Gases Europe)" initials="TD(GE" userId="S::GZ6160@engie.com::4a398110-d311-456c-ab0b-013a30e382e4" providerId="AD"/>
  <p188:author id="{EBE97AA1-6A37-AE88-C8FF-B9D8359D3842}" name="POIROUX Camille (Renewable Gases Europe)" initials="PE" userId="S::iji574@engie.com::e4066608-4a19-48f9-a735-a8ea88efc80e" providerId="AD"/>
  <p188:author id="{E12815FB-0E7B-1325-1435-39BCFE9DDBFA}" name="VILLEPELET Marine (ENGIE Consulting)" initials="VM(C" userId="S::DH6216@engie.com::2c925cfa-ff81-4701-9e21-409f2c80e13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2F2F2"/>
    <a:srgbClr val="29211C"/>
    <a:srgbClr val="007E96"/>
    <a:srgbClr val="67AE6E"/>
    <a:srgbClr val="00817D"/>
    <a:srgbClr val="003C56"/>
    <a:srgbClr val="182663"/>
    <a:srgbClr val="FFFFFF"/>
    <a:srgbClr val="006790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7CE84F3-28C3-443E-9E96-99CF82512B78}" styleName="Style foncé 1 - Accentuation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Style moye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2" d="100"/>
          <a:sy n="152" d="100"/>
        </p:scale>
        <p:origin x="105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CKEON Rob (ENGIE Renewable Gases UK)" userId="1fb886c5-b5d2-4871-be1f-44c0e1cf2cfb" providerId="ADAL" clId="{08AC974D-6F97-491C-96E0-B376A31F0EC5}"/>
    <pc:docChg chg="undo custSel addSld delSld modSld addMainMaster delMainMaster modSection">
      <pc:chgData name="MCKEON Rob (ENGIE Renewable Gases UK)" userId="1fb886c5-b5d2-4871-be1f-44c0e1cf2cfb" providerId="ADAL" clId="{08AC974D-6F97-491C-96E0-B376A31F0EC5}" dt="2025-01-28T08:52:14.836" v="59" actId="20577"/>
      <pc:docMkLst>
        <pc:docMk/>
      </pc:docMkLst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4134715136" sldId="213480692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311195889" sldId="2147377079"/>
        </pc:sldMkLst>
      </pc:sldChg>
      <pc:sldChg chg="del">
        <pc:chgData name="MCKEON Rob (ENGIE Renewable Gases UK)" userId="1fb886c5-b5d2-4871-be1f-44c0e1cf2cfb" providerId="ADAL" clId="{08AC974D-6F97-491C-96E0-B376A31F0EC5}" dt="2025-01-28T08:50:24.020" v="0" actId="47"/>
        <pc:sldMkLst>
          <pc:docMk/>
          <pc:sldMk cId="3523688965" sldId="2147377264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839866155" sldId="214737749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758836990" sldId="214747276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186717042" sldId="2147472770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423168388" sldId="2147472772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4049795806" sldId="2147472775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518977396" sldId="2147472776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289210128" sldId="214747277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908287499" sldId="214747304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925369582" sldId="2147473197"/>
        </pc:sldMkLst>
      </pc:sldChg>
      <pc:sldChg chg="del">
        <pc:chgData name="MCKEON Rob (ENGIE Renewable Gases UK)" userId="1fb886c5-b5d2-4871-be1f-44c0e1cf2cfb" providerId="ADAL" clId="{08AC974D-6F97-491C-96E0-B376A31F0EC5}" dt="2025-01-28T08:50:24.020" v="0" actId="47"/>
        <pc:sldMkLst>
          <pc:docMk/>
          <pc:sldMk cId="3767509441" sldId="2147473198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794587786" sldId="2147473242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669013902" sldId="2147473246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168058650" sldId="214747324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328545329" sldId="2147473248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530566675" sldId="2147473250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920493212" sldId="214747414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113993767" sldId="2147474158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434076060" sldId="214747416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879539967" sldId="2147474164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603485385" sldId="2147474165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889993345" sldId="2147474166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686182991" sldId="214747416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759333202" sldId="2147474175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164097495" sldId="2147474176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168463224" sldId="214747417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671174213" sldId="2147474178"/>
        </pc:sldMkLst>
      </pc:sldChg>
      <pc:sldChg chg="del">
        <pc:chgData name="MCKEON Rob (ENGIE Renewable Gases UK)" userId="1fb886c5-b5d2-4871-be1f-44c0e1cf2cfb" providerId="ADAL" clId="{08AC974D-6F97-491C-96E0-B376A31F0EC5}" dt="2025-01-28T08:50:24.020" v="0" actId="47"/>
        <pc:sldMkLst>
          <pc:docMk/>
          <pc:sldMk cId="2666840848" sldId="2147474179"/>
        </pc:sldMkLst>
      </pc:sldChg>
      <pc:sldChg chg="modSp mod">
        <pc:chgData name="MCKEON Rob (ENGIE Renewable Gases UK)" userId="1fb886c5-b5d2-4871-be1f-44c0e1cf2cfb" providerId="ADAL" clId="{08AC974D-6F97-491C-96E0-B376A31F0EC5}" dt="2025-01-28T08:52:14.836" v="59" actId="20577"/>
        <pc:sldMkLst>
          <pc:docMk/>
          <pc:sldMk cId="2634418305" sldId="2147474180"/>
        </pc:sldMkLst>
        <pc:spChg chg="mod">
          <ac:chgData name="MCKEON Rob (ENGIE Renewable Gases UK)" userId="1fb886c5-b5d2-4871-be1f-44c0e1cf2cfb" providerId="ADAL" clId="{08AC974D-6F97-491C-96E0-B376A31F0EC5}" dt="2025-01-28T08:52:14.836" v="59" actId="20577"/>
          <ac:spMkLst>
            <pc:docMk/>
            <pc:sldMk cId="2634418305" sldId="2147474180"/>
            <ac:spMk id="25" creationId="{A2E17C09-824A-4C3F-BA7A-6A3057275E00}"/>
          </ac:spMkLst>
        </pc:spChg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085140862" sldId="2147474181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489592803" sldId="214747418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013849700" sldId="2147474186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847472087" sldId="214747418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650475008" sldId="2147474193"/>
        </pc:sldMkLst>
      </pc:sldChg>
      <pc:sldChg chg="del">
        <pc:chgData name="MCKEON Rob (ENGIE Renewable Gases UK)" userId="1fb886c5-b5d2-4871-be1f-44c0e1cf2cfb" providerId="ADAL" clId="{08AC974D-6F97-491C-96E0-B376A31F0EC5}" dt="2025-01-28T08:50:24.020" v="0" actId="47"/>
        <pc:sldMkLst>
          <pc:docMk/>
          <pc:sldMk cId="2658431722" sldId="2147474197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600048594" sldId="2147474198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15429742" sldId="2147474202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466476413" sldId="2147482995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546812948" sldId="214748302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3559035843" sldId="2147483253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757478445" sldId="2147483254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1825784333" sldId="2147483255"/>
        </pc:sldMkLst>
      </pc:sldChg>
      <pc:sldChg chg="add del">
        <pc:chgData name="MCKEON Rob (ENGIE Renewable Gases UK)" userId="1fb886c5-b5d2-4871-be1f-44c0e1cf2cfb" providerId="ADAL" clId="{08AC974D-6F97-491C-96E0-B376A31F0EC5}" dt="2025-01-28T08:52:07.027" v="37" actId="47"/>
        <pc:sldMkLst>
          <pc:docMk/>
          <pc:sldMk cId="263805463" sldId="2147483257"/>
        </pc:sldMkLst>
      </pc:sldChg>
      <pc:sldMasterChg chg="delSldLayout">
        <pc:chgData name="MCKEON Rob (ENGIE Renewable Gases UK)" userId="1fb886c5-b5d2-4871-be1f-44c0e1cf2cfb" providerId="ADAL" clId="{08AC974D-6F97-491C-96E0-B376A31F0EC5}" dt="2025-01-28T08:50:24.020" v="0" actId="47"/>
        <pc:sldMasterMkLst>
          <pc:docMk/>
          <pc:sldMasterMk cId="807665303" sldId="2147483648"/>
        </pc:sldMasterMkLst>
        <pc:sldLayoutChg chg="del">
          <pc:chgData name="MCKEON Rob (ENGIE Renewable Gases UK)" userId="1fb886c5-b5d2-4871-be1f-44c0e1cf2cfb" providerId="ADAL" clId="{08AC974D-6F97-491C-96E0-B376A31F0EC5}" dt="2025-01-28T08:50:24.020" v="0" actId="47"/>
          <pc:sldLayoutMkLst>
            <pc:docMk/>
            <pc:sldMasterMk cId="807665303" sldId="2147483648"/>
            <pc:sldLayoutMk cId="379371379" sldId="2147483693"/>
          </pc:sldLayoutMkLst>
        </pc:sldLayoutChg>
      </pc:sldMasterChg>
      <pc:sldMasterChg chg="add del addSldLayout delSldLayout">
        <pc:chgData name="MCKEON Rob (ENGIE Renewable Gases UK)" userId="1fb886c5-b5d2-4871-be1f-44c0e1cf2cfb" providerId="ADAL" clId="{08AC974D-6F97-491C-96E0-B376A31F0EC5}" dt="2025-01-28T08:52:07.027" v="37" actId="47"/>
        <pc:sldMasterMkLst>
          <pc:docMk/>
          <pc:sldMasterMk cId="2560509406" sldId="2147483695"/>
        </pc:sldMasterMkLst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883353884" sldId="2147483696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426817174" sldId="2147483697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511520419" sldId="2147483698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559872266" sldId="2147483699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291237215" sldId="2147483700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2338829703" sldId="2147483701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013492236" sldId="2147483702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2724790347" sldId="2147483703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2773961809" sldId="2147483704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40586244" sldId="2147483705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891441830" sldId="2147483706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2948482780" sldId="2147483707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460058433" sldId="2147483708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040614306" sldId="2147483709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520606408" sldId="2147483710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854309644" sldId="2147483711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2759837296" sldId="2147483712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851978054" sldId="2147483713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148057447" sldId="2147483714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044597759" sldId="2147483715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557515308" sldId="2147483716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775640193" sldId="2147483717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909285401" sldId="2147483718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556286146" sldId="2147483719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3127410209" sldId="2147483720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973507142" sldId="2147483721"/>
          </pc:sldLayoutMkLst>
        </pc:sldLayoutChg>
        <pc:sldLayoutChg chg="add del">
          <pc:chgData name="MCKEON Rob (ENGIE Renewable Gases UK)" userId="1fb886c5-b5d2-4871-be1f-44c0e1cf2cfb" providerId="ADAL" clId="{08AC974D-6F97-491C-96E0-B376A31F0EC5}" dt="2025-01-28T08:52:07.027" v="37" actId="47"/>
          <pc:sldLayoutMkLst>
            <pc:docMk/>
            <pc:sldMasterMk cId="2560509406" sldId="2147483695"/>
            <pc:sldLayoutMk cId="1581835660" sldId="214748372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AF3B4D-4031-475F-93FF-011648F633BE}" type="datetimeFigureOut">
              <a:rPr lang="fr-FR" smtClean="0"/>
              <a:t>28/01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4BD79D-9AFD-47FC-9FBD-FA691ABEC92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5232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C0FCB6-9879-40E0-A7DF-4B6B5782AF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409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985818-553E-84D5-3EB2-7A9BFD1B5DAB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520CA54-B529-4926-9DB2-5A82C99FD1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-1"/>
            <a:ext cx="12192000" cy="5863847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fr-FR" sz="100" dirty="0">
                <a:noFill/>
                <a:latin typeface="+mn-lt"/>
                <a:cs typeface="+mn-cs"/>
              </a:defRPr>
            </a:lvl1pPr>
          </a:lstStyle>
          <a:p>
            <a:pPr lvl="0" algn="ctr"/>
            <a:r>
              <a:rPr lang="fr-FR"/>
              <a:t>A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69DC7EB-93A6-4A20-B9A4-68CC7F3FEF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3200" y="4068000"/>
            <a:ext cx="4852800" cy="4001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ous-</a:t>
            </a:r>
            <a:r>
              <a:rPr lang="en-US" err="1"/>
              <a:t>titre</a:t>
            </a:r>
            <a:endParaRPr lang="fr-FR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63782B69-BA4B-4D0C-B0FD-0E1429544D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61041" y="4858863"/>
            <a:ext cx="1438980" cy="51788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7" name="Espace réservé du pied de page 16">
            <a:extLst>
              <a:ext uri="{FF2B5EF4-FFF2-40B4-BE49-F238E27FC236}">
                <a16:creationId xmlns:a16="http://schemas.microsoft.com/office/drawing/2014/main" id="{EEA2128C-FC05-4F60-A477-262232A9BB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algn="l"/>
            <a:r>
              <a:rPr lang="en-US"/>
              <a:t>RGE - Industrial offer - 2024</a:t>
            </a:r>
            <a:endParaRPr lang="fr-FR"/>
          </a:p>
        </p:txBody>
      </p:sp>
      <p:sp>
        <p:nvSpPr>
          <p:cNvPr id="18" name="Espace réservé du numéro de diapositive 17">
            <a:extLst>
              <a:ext uri="{FF2B5EF4-FFF2-40B4-BE49-F238E27FC236}">
                <a16:creationId xmlns:a16="http://schemas.microsoft.com/office/drawing/2014/main" id="{8CB8EC3C-180B-49A5-AF16-ACC32ED4D4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r-FR"/>
              <a:t>&lt;N°&gt;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CE7AA9C-1B7B-4A9A-AE41-CB2320F656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2750" y="6481609"/>
            <a:ext cx="3554412" cy="287075"/>
          </a:xfrm>
          <a:noFill/>
          <a:ln>
            <a:noFill/>
          </a:ln>
        </p:spPr>
        <p:txBody>
          <a:bodyPr anchor="ctr">
            <a:norm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épartement</a:t>
            </a:r>
          </a:p>
        </p:txBody>
      </p:sp>
      <p:sp>
        <p:nvSpPr>
          <p:cNvPr id="21" name="Espace réservé du texte 19">
            <a:extLst>
              <a:ext uri="{FF2B5EF4-FFF2-40B4-BE49-F238E27FC236}">
                <a16:creationId xmlns:a16="http://schemas.microsoft.com/office/drawing/2014/main" id="{17C681B1-8C89-4C42-8047-AF74ABB994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4840" y="6481609"/>
            <a:ext cx="3554412" cy="287075"/>
          </a:xfr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r">
              <a:defRPr lang="fr-FR" sz="1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11" name="ZoneTexte 17">
            <a:extLst>
              <a:ext uri="{FF2B5EF4-FFF2-40B4-BE49-F238E27FC236}">
                <a16:creationId xmlns:a16="http://schemas.microsoft.com/office/drawing/2014/main" id="{4C0BA33A-E416-A41B-F999-B4B9D452CB77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>
                <a:solidFill>
                  <a:srgbClr val="003C56"/>
                </a:solidFill>
                <a:cs typeface="Arial" panose="020B0604020202020204" pitchFamily="34" charset="0"/>
              </a:rPr>
              <a:t>RESTREINT</a:t>
            </a:r>
          </a:p>
        </p:txBody>
      </p:sp>
      <p:sp>
        <p:nvSpPr>
          <p:cNvPr id="12" name="ZoneTexte 18">
            <a:extLst>
              <a:ext uri="{FF2B5EF4-FFF2-40B4-BE49-F238E27FC236}">
                <a16:creationId xmlns:a16="http://schemas.microsoft.com/office/drawing/2014/main" id="{4F5CECAD-5453-44BB-8C46-D79EF66BE8A0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>
                <a:solidFill>
                  <a:srgbClr val="003C56"/>
                </a:solidFill>
                <a:cs typeface="Arial" panose="020B0604020202020204" pitchFamily="34" charset="0"/>
              </a:rPr>
              <a:t>INTERNE</a:t>
            </a:r>
          </a:p>
        </p:txBody>
      </p:sp>
      <p:sp>
        <p:nvSpPr>
          <p:cNvPr id="13" name="ZoneTexte 19">
            <a:extLst>
              <a:ext uri="{FF2B5EF4-FFF2-40B4-BE49-F238E27FC236}">
                <a16:creationId xmlns:a16="http://schemas.microsoft.com/office/drawing/2014/main" id="{D78FFBA7-486B-A841-29DF-F42AE67EEBDE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>
                <a:solidFill>
                  <a:srgbClr val="003C56"/>
                </a:solidFill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15" name="Connecteur droit 20">
            <a:extLst>
              <a:ext uri="{FF2B5EF4-FFF2-40B4-BE49-F238E27FC236}">
                <a16:creationId xmlns:a16="http://schemas.microsoft.com/office/drawing/2014/main" id="{E70C5AF9-DBAD-22DE-259A-A3AB23F4FC3C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noFill/>
          <a:ln w="6350" cap="flat" cmpd="sng" algn="ctr">
            <a:solidFill>
              <a:srgbClr val="003C56"/>
            </a:solidFill>
            <a:prstDash val="solid"/>
            <a:miter lim="800000"/>
          </a:ln>
          <a:effectLst/>
        </p:spPr>
      </p:cxnSp>
      <p:cxnSp>
        <p:nvCxnSpPr>
          <p:cNvPr id="19" name="Connecteur droit 21">
            <a:extLst>
              <a:ext uri="{FF2B5EF4-FFF2-40B4-BE49-F238E27FC236}">
                <a16:creationId xmlns:a16="http://schemas.microsoft.com/office/drawing/2014/main" id="{2BE8F6E2-59ED-0FE4-1B5C-C8CE3B1E80B1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noFill/>
          <a:ln w="6350" cap="flat" cmpd="sng" algn="ctr">
            <a:solidFill>
              <a:srgbClr val="003C56"/>
            </a:solidFill>
            <a:prstDash val="solid"/>
            <a:miter lim="800000"/>
          </a:ln>
          <a:effectLst/>
        </p:spPr>
      </p:cxnSp>
      <p:grpSp>
        <p:nvGrpSpPr>
          <p:cNvPr id="22" name="Groupe 16">
            <a:extLst>
              <a:ext uri="{FF2B5EF4-FFF2-40B4-BE49-F238E27FC236}">
                <a16:creationId xmlns:a16="http://schemas.microsoft.com/office/drawing/2014/main" id="{D88CC746-604F-3D26-15D4-67C39F94E243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C069EAE5-98F2-E69F-26A4-4B3BC22A6E26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rgbClr val="007E9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584B77CD-7B0D-84CE-E757-A6B4493127F9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rgbClr val="278CBC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A572685D-F4FA-31C0-189B-6C1C32197A0C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57525CD5-0178-E9A2-4ED6-8C207813E302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rgbClr val="007E9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3874FC1B-0A39-40E9-AC11-2C01ECF28E92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rgbClr val="278CBC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F5ACBED5-1B76-61E1-64F3-98C3118086D9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5E47CCB4-976A-C7F6-6856-5781739F6228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rgbClr val="007E9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649D8264-7812-6206-9C53-DB01BAEE51E1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rgbClr val="278CBC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F24F7A9-B83B-224D-66DD-24D58FEA16BE}"/>
              </a:ext>
            </a:extLst>
          </p:cNvPr>
          <p:cNvSpPr/>
          <p:nvPr userDrawn="1"/>
        </p:nvSpPr>
        <p:spPr>
          <a:xfrm>
            <a:off x="0" y="1344193"/>
            <a:ext cx="4933244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16EABD-AEA3-FC3E-3EA5-014C618D06CB}"/>
              </a:ext>
            </a:extLst>
          </p:cNvPr>
          <p:cNvSpPr/>
          <p:nvPr userDrawn="1"/>
        </p:nvSpPr>
        <p:spPr>
          <a:xfrm>
            <a:off x="0" y="2101306"/>
            <a:ext cx="6677674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1930D2-30DF-93FE-CCCA-490590998D41}"/>
              </a:ext>
            </a:extLst>
          </p:cNvPr>
          <p:cNvSpPr/>
          <p:nvPr userDrawn="1"/>
        </p:nvSpPr>
        <p:spPr>
          <a:xfrm>
            <a:off x="0" y="2858418"/>
            <a:ext cx="8422105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563E60-B096-4675-BC72-0588A49776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3600" y="1688400"/>
            <a:ext cx="8143906" cy="646331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PRÉSENTATION SUR DEUX À TROIS LIGNES </a:t>
            </a:r>
          </a:p>
        </p:txBody>
      </p:sp>
    </p:spTree>
    <p:extLst>
      <p:ext uri="{BB962C8B-B14F-4D97-AF65-F5344CB8AC3E}">
        <p14:creationId xmlns:p14="http://schemas.microsoft.com/office/powerpoint/2010/main" val="1109385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(2/3, 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30B50419-8F8F-4215-BC27-6BCE14B7FD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1" y="1574073"/>
            <a:ext cx="7454107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DB91070-8D33-4BC3-9BB0-DC56D73AC0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29600" y="1574073"/>
            <a:ext cx="354727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D075274-E8E2-E8C6-DB25-AAE09836A7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4807302-EBD9-C065-C0B1-88C94AAB4F3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131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(1/3,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30B50419-8F8F-4215-BC27-6BCE14B7FD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354568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DB91070-8D33-4BC3-9BB0-DC56D73AC0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21176" y="1574073"/>
            <a:ext cx="7455696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DD3982D-F83E-5E3B-E5C3-B4A72B1C34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AF3D84F-2616-1341-7C35-0242438E61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6751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30B50419-8F8F-4215-BC27-6BCE14B7FD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354568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DB91070-8D33-4BC3-9BB0-DC56D73AC0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321176" y="1574073"/>
            <a:ext cx="354806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1E0FEFF3-8D45-4B86-BF42-2590DDB4B9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9600" y="1574073"/>
            <a:ext cx="3543300" cy="4888800"/>
          </a:xfrm>
        </p:spPr>
        <p:txBody>
          <a:bodyPr>
            <a:noAutofit/>
          </a:bodyPr>
          <a:lstStyle/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55EC541-7B86-5E7A-E926-211BD671C7E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286A343-B677-596C-E2BC-131BC34A3D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606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30B50419-8F8F-4215-BC27-6BCE14B7FD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11354073" cy="151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DB91070-8D33-4BC3-9BB0-DC56D73AC04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5132" y="3262473"/>
            <a:ext cx="11354073" cy="151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1E0FEFF3-8D45-4B86-BF42-2590DDB4B9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5132" y="4950873"/>
            <a:ext cx="11354073" cy="1512000"/>
          </a:xfrm>
        </p:spPr>
        <p:txBody>
          <a:bodyPr>
            <a:noAutofit/>
          </a:bodyPr>
          <a:lstStyle/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E08EEB2-61FD-5067-92F9-A80709C19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ED2A6CE-C2D2-999A-0185-DF1417F3AA3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73C3D3C-4F73-FCEB-5CA7-CFDB0A991C4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0853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entagon 8">
            <a:extLst>
              <a:ext uri="{FF2B5EF4-FFF2-40B4-BE49-F238E27FC236}">
                <a16:creationId xmlns:a16="http://schemas.microsoft.com/office/drawing/2014/main" id="{9EF6336F-A811-733D-CE8F-1C36B55B196E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964" y="344233"/>
            <a:ext cx="5497650" cy="4144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re…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9" y="827405"/>
            <a:ext cx="5502130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…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71761F85-74FF-4A8A-879A-E05B122BAAB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550148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defRPr lang="fr-FR" smtClean="0">
                <a:solidFill>
                  <a:schemeClr val="bg1"/>
                </a:solidFill>
              </a:defRPr>
            </a:lvl3pPr>
            <a:lvl4pPr>
              <a:defRPr lang="fr-FR" smtClean="0">
                <a:solidFill>
                  <a:schemeClr val="bg1"/>
                </a:solidFill>
              </a:defRPr>
            </a:lvl4pPr>
            <a:lvl5pP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8184277-6D63-41FB-BC30-0C91E3EC646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388" y="1574073"/>
            <a:ext cx="550148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1BCB8459-5C1F-FB30-F661-64395D7292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FBDB10-20D2-49F2-EEFE-9922DB0106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DC864EE1-7E60-5FD5-D640-468D32B7D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836" y="827405"/>
            <a:ext cx="5497200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…Sous-titre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59BE02DE-5CB2-C77F-91ED-CFD5C5741A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836" y="344712"/>
            <a:ext cx="5497200" cy="414000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fr-FR" sz="2400" dirty="0">
                <a:solidFill>
                  <a:schemeClr val="tx1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…Titre</a:t>
            </a:r>
          </a:p>
        </p:txBody>
      </p:sp>
    </p:spTree>
    <p:extLst>
      <p:ext uri="{BB962C8B-B14F-4D97-AF65-F5344CB8AC3E}">
        <p14:creationId xmlns:p14="http://schemas.microsoft.com/office/powerpoint/2010/main" val="1942409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9538B29-A80B-8D1B-1C48-A9A351176280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entagon 8">
            <a:extLst>
              <a:ext uri="{FF2B5EF4-FFF2-40B4-BE49-F238E27FC236}">
                <a16:creationId xmlns:a16="http://schemas.microsoft.com/office/drawing/2014/main" id="{9EF6336F-A811-733D-CE8F-1C36B55B196E}"/>
              </a:ext>
            </a:extLst>
          </p:cNvPr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8184277-6D63-41FB-BC30-0C91E3EC646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388" y="1574073"/>
            <a:ext cx="550148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defRPr lang="fr-FR" smtClean="0">
                <a:solidFill>
                  <a:schemeClr val="bg1"/>
                </a:solidFill>
              </a:defRPr>
            </a:lvl3pPr>
            <a:lvl4pPr>
              <a:defRPr lang="fr-FR" smtClean="0">
                <a:solidFill>
                  <a:schemeClr val="bg1"/>
                </a:solidFill>
              </a:defRPr>
            </a:lvl4pPr>
            <a:lvl5pP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1BCB8459-5C1F-FB30-F661-64395D7292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FBDB10-20D2-49F2-EEFE-9922DB0106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DC864EE1-7E60-5FD5-D640-468D32B7D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75388" y="827405"/>
            <a:ext cx="5502130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…Sous-titre</a:t>
            </a:r>
          </a:p>
        </p:txBody>
      </p:sp>
      <p:sp>
        <p:nvSpPr>
          <p:cNvPr id="9" name="Titre 3">
            <a:extLst>
              <a:ext uri="{FF2B5EF4-FFF2-40B4-BE49-F238E27FC236}">
                <a16:creationId xmlns:a16="http://schemas.microsoft.com/office/drawing/2014/main" id="{AE7EADD4-7180-A5D9-428D-437C4DF144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964" y="344233"/>
            <a:ext cx="5501482" cy="41447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…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54C5B577-038D-AE01-8C99-29230727A6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550596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…</a:t>
            </a:r>
          </a:p>
        </p:txBody>
      </p:sp>
      <p:sp>
        <p:nvSpPr>
          <p:cNvPr id="12" name="Espace réservé du contenu 1">
            <a:extLst>
              <a:ext uri="{FF2B5EF4-FFF2-40B4-BE49-F238E27FC236}">
                <a16:creationId xmlns:a16="http://schemas.microsoft.com/office/drawing/2014/main" id="{675108EE-0233-22E5-F598-2FA5B9D7E98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550148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0555494E-8326-5E7C-57C2-E05A30293EE2}"/>
              </a:ext>
            </a:extLst>
          </p:cNvPr>
          <p:cNvSpPr txBox="1">
            <a:spLocks/>
          </p:cNvSpPr>
          <p:nvPr userDrawn="1"/>
        </p:nvSpPr>
        <p:spPr>
          <a:xfrm>
            <a:off x="5730875" y="6507009"/>
            <a:ext cx="730250" cy="215444"/>
          </a:xfrm>
          <a:prstGeom prst="rect">
            <a:avLst/>
          </a:prstGeom>
        </p:spPr>
        <p:txBody>
          <a:bodyPr vert="horz" lIns="0" tIns="0" rIns="36000" bIns="0" rtlCol="0" anchor="ctr"/>
          <a:lstStyle>
            <a:defPPr>
              <a:defRPr lang="fr-FR"/>
            </a:defPPr>
            <a:lvl1pPr algn="r">
              <a:defRPr sz="800"/>
            </a:lvl1pPr>
          </a:lstStyle>
          <a:p>
            <a:pPr lvl="0" algn="ctr"/>
            <a:r>
              <a:rPr lang="fr-FR">
                <a:solidFill>
                  <a:schemeClr val="bg1"/>
                </a:solidFill>
              </a:rPr>
              <a:t>© ENGIE 2023</a:t>
            </a: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72055D0D-751D-1141-E0B2-58CA8CE916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836" y="344712"/>
            <a:ext cx="5497200" cy="414000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fr-FR" sz="2400" dirty="0">
                <a:solidFill>
                  <a:schemeClr val="bg1"/>
                </a:solidFill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…Titre</a:t>
            </a:r>
          </a:p>
        </p:txBody>
      </p:sp>
    </p:spTree>
    <p:extLst>
      <p:ext uri="{BB962C8B-B14F-4D97-AF65-F5344CB8AC3E}">
        <p14:creationId xmlns:p14="http://schemas.microsoft.com/office/powerpoint/2010/main" val="21566776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79DCFB9-B74C-9A71-48A2-B9C19C7ADAA5}"/>
              </a:ext>
            </a:extLst>
          </p:cNvPr>
          <p:cNvSpPr/>
          <p:nvPr userDrawn="1"/>
        </p:nvSpPr>
        <p:spPr>
          <a:xfrm>
            <a:off x="0" y="0"/>
            <a:ext cx="12192000" cy="64685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9EBD605-1CB2-4068-A748-48FF98EC65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5131" y="452761"/>
            <a:ext cx="11361738" cy="5963913"/>
          </a:xfrm>
        </p:spPr>
        <p:txBody>
          <a:bodyPr>
            <a:normAutofit/>
          </a:bodyPr>
          <a:lstStyle>
            <a:lvl1pPr>
              <a:defRPr sz="100">
                <a:noFill/>
                <a:sym typeface="Wingdings" panose="05000000000000000000" pitchFamily="2" charset="2"/>
              </a:defRPr>
            </a:lvl1pPr>
          </a:lstStyle>
          <a:p>
            <a:pPr lvl="0"/>
            <a:r>
              <a:rPr lang="fr-FR"/>
              <a:t>A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6613A7B-AD39-9604-D85A-24E9A85070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4F291414-58A7-C3C3-55FA-6374E5E4BE6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0470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1FA5E0-8569-0A89-5E5E-97A09B355348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space réservé pour une image  15">
            <a:extLst>
              <a:ext uri="{FF2B5EF4-FFF2-40B4-BE49-F238E27FC236}">
                <a16:creationId xmlns:a16="http://schemas.microsoft.com/office/drawing/2014/main" id="{20B01B9F-B137-424B-B6FA-0D740B0DE9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9888" y="367166"/>
            <a:ext cx="11822112" cy="3061834"/>
          </a:xfrm>
          <a:solidFill>
            <a:schemeClr val="accent2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F5D056CF-8A76-4939-A1E2-6EB5E8DCB4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3196388"/>
            <a:ext cx="3048001" cy="447357"/>
          </a:xfrm>
          <a:gradFill flip="none" rotWithShape="1">
            <a:gsLst>
              <a:gs pos="100000">
                <a:srgbClr val="00BCFD">
                  <a:lumMod val="100000"/>
                </a:srgbClr>
              </a:gs>
              <a:gs pos="12000">
                <a:srgbClr val="23D2B5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fr-FR" sz="100" dirty="0">
                <a:noFill/>
                <a:latin typeface="+mn-lt"/>
                <a:cs typeface="+mn-cs"/>
              </a:defRPr>
            </a:lvl1pPr>
          </a:lstStyle>
          <a:p>
            <a:pPr lvl="0" algn="ctr"/>
            <a:r>
              <a:rPr lang="fr-FR"/>
              <a:t>A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2D71E99-CEA1-A008-95D2-4F68B70DEE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F7CB727-B11D-A721-2D59-FD653D558C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15133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de sous-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B55F31-DB23-9FD3-727C-C07BF3582E4B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space réservé pour une image  15">
            <a:extLst>
              <a:ext uri="{FF2B5EF4-FFF2-40B4-BE49-F238E27FC236}">
                <a16:creationId xmlns:a16="http://schemas.microsoft.com/office/drawing/2014/main" id="{20B01B9F-B137-424B-B6FA-0D740B0DE9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68338" y="584340"/>
            <a:ext cx="6423662" cy="2509610"/>
          </a:xfrm>
          <a:solidFill>
            <a:schemeClr val="accent2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Espace réservé du texte 13">
            <a:extLst>
              <a:ext uri="{FF2B5EF4-FFF2-40B4-BE49-F238E27FC236}">
                <a16:creationId xmlns:a16="http://schemas.microsoft.com/office/drawing/2014/main" id="{F5D056CF-8A76-4939-A1E2-6EB5E8DCB4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99059"/>
            <a:ext cx="2879400" cy="335482"/>
          </a:xfrm>
          <a:gradFill flip="none" rotWithShape="1">
            <a:gsLst>
              <a:gs pos="100000">
                <a:srgbClr val="00BCFD">
                  <a:lumMod val="100000"/>
                </a:srgbClr>
              </a:gs>
              <a:gs pos="12000">
                <a:srgbClr val="23D2B5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fr-FR" sz="100" dirty="0">
                <a:noFill/>
                <a:latin typeface="+mn-lt"/>
                <a:cs typeface="+mn-cs"/>
              </a:defRPr>
            </a:lvl1pPr>
          </a:lstStyle>
          <a:p>
            <a:pPr lvl="0" algn="ctr"/>
            <a:r>
              <a:rPr lang="fr-FR"/>
              <a:t>A</a:t>
            </a: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258DCD3D-94CC-E244-B543-4E7ADE8188F3}"/>
              </a:ext>
            </a:extLst>
          </p:cNvPr>
          <p:cNvCxnSpPr/>
          <p:nvPr userDrawn="1"/>
        </p:nvCxnSpPr>
        <p:spPr>
          <a:xfrm>
            <a:off x="0" y="3789286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C0BFC98-83C1-28BA-0503-17EBDBB9403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342BB6D-3DF7-71B5-FD9B-4CF61BA078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0083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F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9F95B29-8620-C78F-832A-9885CCC1939D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CA4225A-8C39-0490-91F1-FD66B74E8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E29012C-CC9B-2446-B86A-68A78BA48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pPr algn="l"/>
            <a:r>
              <a:rPr lang="en-US"/>
              <a:t>RGE - Industrial offer - 2024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BAD3FD4-9186-5D15-410C-65A56E966C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A0478C69-2E61-CB1E-4FE6-8EE1E9D04028}"/>
              </a:ext>
            </a:extLst>
          </p:cNvPr>
          <p:cNvSpPr txBox="1"/>
          <p:nvPr userDrawn="1"/>
        </p:nvSpPr>
        <p:spPr>
          <a:xfrm>
            <a:off x="4876800" y="6465651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u="sng"/>
              <a:t>engie.com</a:t>
            </a:r>
          </a:p>
        </p:txBody>
      </p:sp>
    </p:spTree>
    <p:extLst>
      <p:ext uri="{BB962C8B-B14F-4D97-AF65-F5344CB8AC3E}">
        <p14:creationId xmlns:p14="http://schemas.microsoft.com/office/powerpoint/2010/main" val="1873359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47DC28D-CEA7-44FD-8D09-6FDF5EC191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03B71C9-AA20-1022-4ABB-15F013C8EB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BFC0FF3F-74EA-3E58-35B2-4746A2C771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68225" y="6507009"/>
            <a:ext cx="609437" cy="215444"/>
          </a:xfrm>
          <a:prstGeom prst="rect">
            <a:avLst/>
          </a:prstGeom>
        </p:spPr>
        <p:txBody>
          <a:bodyPr/>
          <a:lstStyle/>
          <a:p>
            <a:pPr algn="r"/>
            <a:fld id="{5CDEAB73-A1E5-46FE-814D-1391BB7E2BFC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8F5CE62-ADE0-D898-4940-9945183EED9A}"/>
              </a:ext>
            </a:extLst>
          </p:cNvPr>
          <p:cNvSpPr txBox="1">
            <a:spLocks/>
          </p:cNvSpPr>
          <p:nvPr userDrawn="1"/>
        </p:nvSpPr>
        <p:spPr>
          <a:xfrm>
            <a:off x="1021474" y="6513767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2463104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Fin Bi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46CD62E-1F7B-16A7-FF51-230AC69B132B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CA4225A-8C39-0490-91F1-FD66B74E8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E29012C-CC9B-2446-B86A-68A78BA485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pPr algn="l"/>
            <a:r>
              <a:rPr lang="en-US"/>
              <a:t>RGE - Industrial offer - 2024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BAD3FD4-9186-5D15-410C-65A56E966C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33B37CF2-7AFD-CBAF-39E0-986D3C962FA0}"/>
              </a:ext>
            </a:extLst>
          </p:cNvPr>
          <p:cNvSpPr txBox="1"/>
          <p:nvPr userDrawn="1"/>
        </p:nvSpPr>
        <p:spPr>
          <a:xfrm>
            <a:off x="4876800" y="6465651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u="sng">
                <a:solidFill>
                  <a:schemeClr val="bg1"/>
                </a:solidFill>
              </a:rPr>
              <a:t>engie.com</a:t>
            </a:r>
          </a:p>
        </p:txBody>
      </p:sp>
    </p:spTree>
    <p:extLst>
      <p:ext uri="{BB962C8B-B14F-4D97-AF65-F5344CB8AC3E}">
        <p14:creationId xmlns:p14="http://schemas.microsoft.com/office/powerpoint/2010/main" val="19705340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112BC-72E8-400B-A2DB-C14B6E46B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49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4895BD7A-CAF8-BA47-8F52-48C379912A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778" y="6398678"/>
            <a:ext cx="358423" cy="365125"/>
          </a:xfrm>
          <a:prstGeom prst="rect">
            <a:avLst/>
          </a:prstGeom>
        </p:spPr>
        <p:txBody>
          <a:bodyPr anchor="ctr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75672A7-4AA1-BF41-960F-B387333AF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6260" y="6477361"/>
            <a:ext cx="2057400" cy="365125"/>
          </a:xfrm>
          <a:prstGeom prst="rect">
            <a:avLst/>
          </a:prstGeom>
        </p:spPr>
        <p:txBody>
          <a:bodyPr anchor="ctr"/>
          <a:lstStyle>
            <a:lvl1pPr algn="l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US"/>
              <a:t>RGE - Industrial offer - 2024</a:t>
            </a:r>
          </a:p>
        </p:txBody>
      </p:sp>
    </p:spTree>
    <p:extLst>
      <p:ext uri="{BB962C8B-B14F-4D97-AF65-F5344CB8AC3E}">
        <p14:creationId xmlns:p14="http://schemas.microsoft.com/office/powerpoint/2010/main" val="4045358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Subheader &quot;Cyan&quot;" type="titleOnly">
  <p:cSld name="Title + Subheader &quot;Cyan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Design Guide" hidden="1">
            <a:extLst>
              <a:ext uri="{FF2B5EF4-FFF2-40B4-BE49-F238E27FC236}">
                <a16:creationId xmlns:a16="http://schemas.microsoft.com/office/drawing/2014/main" id="{E8074E14-B142-465F-A7B6-89BEC08669F9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-312000" y="-243000"/>
            <a:ext cx="12816000" cy="7380000"/>
            <a:chOff x="-312000" y="-243000"/>
            <a:chExt cx="12816000" cy="7380000"/>
          </a:xfrm>
        </p:grpSpPr>
        <p:grpSp>
          <p:nvGrpSpPr>
            <p:cNvPr id="67" name="Aditional Grid" hidden="1">
              <a:extLst>
                <a:ext uri="{FF2B5EF4-FFF2-40B4-BE49-F238E27FC236}">
                  <a16:creationId xmlns:a16="http://schemas.microsoft.com/office/drawing/2014/main" id="{9A35411B-A36D-430A-8EDF-B720575DBA86}"/>
                </a:ext>
              </a:extLst>
            </p:cNvPr>
            <p:cNvGrpSpPr/>
            <p:nvPr userDrawn="1">
              <p:custDataLst>
                <p:tags r:id="rId2"/>
              </p:custDataLst>
            </p:nvPr>
          </p:nvGrpSpPr>
          <p:grpSpPr>
            <a:xfrm>
              <a:off x="48000" y="45000"/>
              <a:ext cx="12096000" cy="6768000"/>
              <a:chOff x="48000" y="45000"/>
              <a:chExt cx="12096000" cy="6768000"/>
            </a:xfrm>
          </p:grpSpPr>
          <p:cxnSp>
            <p:nvCxnSpPr>
              <p:cNvPr id="101" name="Gerader Verbinder 2" hidden="1">
                <a:extLst>
                  <a:ext uri="{FF2B5EF4-FFF2-40B4-BE49-F238E27FC236}">
                    <a16:creationId xmlns:a16="http://schemas.microsoft.com/office/drawing/2014/main" id="{97734F0A-2A17-4023-A8BD-1B982F1D594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7363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4" hidden="1">
                <a:extLst>
                  <a:ext uri="{FF2B5EF4-FFF2-40B4-BE49-F238E27FC236}">
                    <a16:creationId xmlns:a16="http://schemas.microsoft.com/office/drawing/2014/main" id="{E17D92A0-48AC-4FD6-BF50-BCB35B249C4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40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5" hidden="1">
                <a:extLst>
                  <a:ext uri="{FF2B5EF4-FFF2-40B4-BE49-F238E27FC236}">
                    <a16:creationId xmlns:a16="http://schemas.microsoft.com/office/drawing/2014/main" id="{A3AC619E-1F1D-43CB-A5D4-616FDEA10C2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152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6" hidden="1">
                <a:extLst>
                  <a:ext uri="{FF2B5EF4-FFF2-40B4-BE49-F238E27FC236}">
                    <a16:creationId xmlns:a16="http://schemas.microsoft.com/office/drawing/2014/main" id="{9B441242-F7BB-4F95-8075-4660DEB31B0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440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7" hidden="1">
                <a:extLst>
                  <a:ext uri="{FF2B5EF4-FFF2-40B4-BE49-F238E27FC236}">
                    <a16:creationId xmlns:a16="http://schemas.microsoft.com/office/drawing/2014/main" id="{A11AA599-EFDA-416D-8C29-23BFC6C1789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52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r Verbinder 18" hidden="1">
                <a:extLst>
                  <a:ext uri="{FF2B5EF4-FFF2-40B4-BE49-F238E27FC236}">
                    <a16:creationId xmlns:a16="http://schemas.microsoft.com/office/drawing/2014/main" id="{CCBC06D6-9A25-4965-B79A-4A02282611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240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9" hidden="1">
                <a:extLst>
                  <a:ext uri="{FF2B5EF4-FFF2-40B4-BE49-F238E27FC236}">
                    <a16:creationId xmlns:a16="http://schemas.microsoft.com/office/drawing/2014/main" id="{504F72BE-83B5-4AAC-8216-39F6A40101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752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20" hidden="1">
                <a:extLst>
                  <a:ext uri="{FF2B5EF4-FFF2-40B4-BE49-F238E27FC236}">
                    <a16:creationId xmlns:a16="http://schemas.microsoft.com/office/drawing/2014/main" id="{B3EB31E1-1B61-47FB-A61D-9943171BAE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040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25" hidden="1">
                <a:extLst>
                  <a:ext uri="{FF2B5EF4-FFF2-40B4-BE49-F238E27FC236}">
                    <a16:creationId xmlns:a16="http://schemas.microsoft.com/office/drawing/2014/main" id="{CFFFD224-89F9-4A60-8222-71A60CF3F3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52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26" hidden="1">
                <a:extLst>
                  <a:ext uri="{FF2B5EF4-FFF2-40B4-BE49-F238E27FC236}">
                    <a16:creationId xmlns:a16="http://schemas.microsoft.com/office/drawing/2014/main" id="{671FDA9B-CEB0-4B37-AECB-C5AE3BC1D3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712000" y="45000"/>
                <a:ext cx="0" cy="676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27" hidden="1">
                <a:extLst>
                  <a:ext uri="{FF2B5EF4-FFF2-40B4-BE49-F238E27FC236}">
                    <a16:creationId xmlns:a16="http://schemas.microsoft.com/office/drawing/2014/main" id="{0B6A2212-FC86-4CBB-8436-DF9164ACF58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405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29" hidden="1">
                <a:extLst>
                  <a:ext uri="{FF2B5EF4-FFF2-40B4-BE49-F238E27FC236}">
                    <a16:creationId xmlns:a16="http://schemas.microsoft.com/office/drawing/2014/main" id="{53C6CBC6-397A-4D9B-BEF8-1645348DE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909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30" hidden="1">
                <a:extLst>
                  <a:ext uri="{FF2B5EF4-FFF2-40B4-BE49-F238E27FC236}">
                    <a16:creationId xmlns:a16="http://schemas.microsoft.com/office/drawing/2014/main" id="{5B67ECFC-FF54-418E-891A-89928E8287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1269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31" hidden="1">
                <a:extLst>
                  <a:ext uri="{FF2B5EF4-FFF2-40B4-BE49-F238E27FC236}">
                    <a16:creationId xmlns:a16="http://schemas.microsoft.com/office/drawing/2014/main" id="{83A55C76-7296-4A90-9E5E-AD595144A8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1413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r Verbinder 32" hidden="1">
                <a:extLst>
                  <a:ext uri="{FF2B5EF4-FFF2-40B4-BE49-F238E27FC236}">
                    <a16:creationId xmlns:a16="http://schemas.microsoft.com/office/drawing/2014/main" id="{B602514F-23BF-4A3A-BF99-BEF187C5F81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2061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r Verbinder 33" hidden="1">
                <a:extLst>
                  <a:ext uri="{FF2B5EF4-FFF2-40B4-BE49-F238E27FC236}">
                    <a16:creationId xmlns:a16="http://schemas.microsoft.com/office/drawing/2014/main" id="{AE7E9912-B814-47EE-AED5-56590F7775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2205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r Verbinder 34" hidden="1">
                <a:extLst>
                  <a:ext uri="{FF2B5EF4-FFF2-40B4-BE49-F238E27FC236}">
                    <a16:creationId xmlns:a16="http://schemas.microsoft.com/office/drawing/2014/main" id="{DCD57C23-2219-4B9F-962F-337196B3F7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5805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r Verbinder 35" hidden="1">
                <a:extLst>
                  <a:ext uri="{FF2B5EF4-FFF2-40B4-BE49-F238E27FC236}">
                    <a16:creationId xmlns:a16="http://schemas.microsoft.com/office/drawing/2014/main" id="{349F659A-14B2-4CBC-8B6C-93FACC1A61E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6165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r Verbinder 36" hidden="1">
                <a:extLst>
                  <a:ext uri="{FF2B5EF4-FFF2-40B4-BE49-F238E27FC236}">
                    <a16:creationId xmlns:a16="http://schemas.microsoft.com/office/drawing/2014/main" id="{F867AFA4-4A5B-4820-AC96-BFD5857954C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6381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r Verbinder 37" hidden="1">
                <a:extLst>
                  <a:ext uri="{FF2B5EF4-FFF2-40B4-BE49-F238E27FC236}">
                    <a16:creationId xmlns:a16="http://schemas.microsoft.com/office/drawing/2014/main" id="{9055E4D6-AC19-470A-AC52-015ED0AC879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6741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r Verbinder 38" hidden="1">
                <a:extLst>
                  <a:ext uri="{FF2B5EF4-FFF2-40B4-BE49-F238E27FC236}">
                    <a16:creationId xmlns:a16="http://schemas.microsoft.com/office/drawing/2014/main" id="{8852ED15-B30C-4C50-93DD-0843D9C64FB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3861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r Verbinder 39" hidden="1">
                <a:extLst>
                  <a:ext uri="{FF2B5EF4-FFF2-40B4-BE49-F238E27FC236}">
                    <a16:creationId xmlns:a16="http://schemas.microsoft.com/office/drawing/2014/main" id="{77BD0DF1-08D7-4B49-BC08-EEE5A41F3E7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8000" y="3717000"/>
                <a:ext cx="12096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Helpline Grid" hidden="1">
              <a:extLst>
                <a:ext uri="{FF2B5EF4-FFF2-40B4-BE49-F238E27FC236}">
                  <a16:creationId xmlns:a16="http://schemas.microsoft.com/office/drawing/2014/main" id="{156327C2-4750-48DA-8913-4FA5B33A7770}"/>
                </a:ext>
              </a:extLst>
            </p:cNvPr>
            <p:cNvGrpSpPr/>
            <p:nvPr userDrawn="1"/>
          </p:nvGrpSpPr>
          <p:grpSpPr>
            <a:xfrm>
              <a:off x="-312000" y="-243000"/>
              <a:ext cx="12816000" cy="7380000"/>
              <a:chOff x="-312000" y="-243000"/>
              <a:chExt cx="12816000" cy="7380000"/>
            </a:xfrm>
          </p:grpSpPr>
          <p:cxnSp>
            <p:nvCxnSpPr>
              <p:cNvPr id="69" name="Gerader Verbinder 40" hidden="1">
                <a:extLst>
                  <a:ext uri="{FF2B5EF4-FFF2-40B4-BE49-F238E27FC236}">
                    <a16:creationId xmlns:a16="http://schemas.microsoft.com/office/drawing/2014/main" id="{03DD0E03-14EF-4CA1-AB52-2E58A56F1915}"/>
                  </a:ext>
                </a:extLst>
              </p:cNvPr>
              <p:cNvCxnSpPr/>
              <p:nvPr userDrawn="1"/>
            </p:nvCxnSpPr>
            <p:spPr>
              <a:xfrm>
                <a:off x="840000" y="-243000"/>
                <a:ext cx="0" cy="144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41" hidden="1">
                <a:extLst>
                  <a:ext uri="{FF2B5EF4-FFF2-40B4-BE49-F238E27FC236}">
                    <a16:creationId xmlns:a16="http://schemas.microsoft.com/office/drawing/2014/main" id="{3824AC53-20CF-4D31-BC08-663F4F4181D7}"/>
                  </a:ext>
                </a:extLst>
              </p:cNvPr>
              <p:cNvCxnSpPr/>
              <p:nvPr userDrawn="1"/>
            </p:nvCxnSpPr>
            <p:spPr>
              <a:xfrm>
                <a:off x="480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42" hidden="1">
                <a:extLst>
                  <a:ext uri="{FF2B5EF4-FFF2-40B4-BE49-F238E27FC236}">
                    <a16:creationId xmlns:a16="http://schemas.microsoft.com/office/drawing/2014/main" id="{133144DD-CE65-4A38-99E6-B72287D699D6}"/>
                  </a:ext>
                </a:extLst>
              </p:cNvPr>
              <p:cNvCxnSpPr/>
              <p:nvPr userDrawn="1"/>
            </p:nvCxnSpPr>
            <p:spPr>
              <a:xfrm>
                <a:off x="11352000" y="-243000"/>
                <a:ext cx="0" cy="144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44" hidden="1">
                <a:extLst>
                  <a:ext uri="{FF2B5EF4-FFF2-40B4-BE49-F238E27FC236}">
                    <a16:creationId xmlns:a16="http://schemas.microsoft.com/office/drawing/2014/main" id="{C9C51B89-0F4A-465C-AA1E-86A0857FE8BA}"/>
                  </a:ext>
                </a:extLst>
              </p:cNvPr>
              <p:cNvCxnSpPr/>
              <p:nvPr userDrawn="1"/>
            </p:nvCxnSpPr>
            <p:spPr>
              <a:xfrm>
                <a:off x="4152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r Verbinder 45" hidden="1">
                <a:extLst>
                  <a:ext uri="{FF2B5EF4-FFF2-40B4-BE49-F238E27FC236}">
                    <a16:creationId xmlns:a16="http://schemas.microsoft.com/office/drawing/2014/main" id="{B16271F2-D0B1-48D8-AF72-855FC87510DA}"/>
                  </a:ext>
                </a:extLst>
              </p:cNvPr>
              <p:cNvCxnSpPr/>
              <p:nvPr userDrawn="1"/>
            </p:nvCxnSpPr>
            <p:spPr>
              <a:xfrm>
                <a:off x="7752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r Verbinder 46" hidden="1">
                <a:extLst>
                  <a:ext uri="{FF2B5EF4-FFF2-40B4-BE49-F238E27FC236}">
                    <a16:creationId xmlns:a16="http://schemas.microsoft.com/office/drawing/2014/main" id="{5A84A32F-A46F-413A-9B5E-84B7A43952CA}"/>
                  </a:ext>
                </a:extLst>
              </p:cNvPr>
              <p:cNvCxnSpPr/>
              <p:nvPr userDrawn="1"/>
            </p:nvCxnSpPr>
            <p:spPr>
              <a:xfrm>
                <a:off x="11712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r Verbinder 47" hidden="1">
                <a:extLst>
                  <a:ext uri="{FF2B5EF4-FFF2-40B4-BE49-F238E27FC236}">
                    <a16:creationId xmlns:a16="http://schemas.microsoft.com/office/drawing/2014/main" id="{2AE2676B-9FB2-45AD-9204-FB12DD068C35}"/>
                  </a:ext>
                </a:extLst>
              </p:cNvPr>
              <p:cNvCxnSpPr/>
              <p:nvPr userDrawn="1"/>
            </p:nvCxnSpPr>
            <p:spPr>
              <a:xfrm>
                <a:off x="4440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r Verbinder 48" hidden="1">
                <a:extLst>
                  <a:ext uri="{FF2B5EF4-FFF2-40B4-BE49-F238E27FC236}">
                    <a16:creationId xmlns:a16="http://schemas.microsoft.com/office/drawing/2014/main" id="{B230DF35-63E9-47E2-8944-65CF3966F326}"/>
                  </a:ext>
                </a:extLst>
              </p:cNvPr>
              <p:cNvCxnSpPr/>
              <p:nvPr userDrawn="1"/>
            </p:nvCxnSpPr>
            <p:spPr>
              <a:xfrm>
                <a:off x="8040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49" hidden="1">
                <a:extLst>
                  <a:ext uri="{FF2B5EF4-FFF2-40B4-BE49-F238E27FC236}">
                    <a16:creationId xmlns:a16="http://schemas.microsoft.com/office/drawing/2014/main" id="{247D809D-F06F-4080-8E71-C7DE30EB5B39}"/>
                  </a:ext>
                </a:extLst>
              </p:cNvPr>
              <p:cNvCxnSpPr/>
              <p:nvPr userDrawn="1"/>
            </p:nvCxnSpPr>
            <p:spPr>
              <a:xfrm>
                <a:off x="5952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50" hidden="1">
                <a:extLst>
                  <a:ext uri="{FF2B5EF4-FFF2-40B4-BE49-F238E27FC236}">
                    <a16:creationId xmlns:a16="http://schemas.microsoft.com/office/drawing/2014/main" id="{B871A88E-D804-46F5-A7E1-CE4AF9902E46}"/>
                  </a:ext>
                </a:extLst>
              </p:cNvPr>
              <p:cNvCxnSpPr/>
              <p:nvPr userDrawn="1"/>
            </p:nvCxnSpPr>
            <p:spPr>
              <a:xfrm>
                <a:off x="6240000" y="-171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r Verbinder 51" hidden="1">
                <a:extLst>
                  <a:ext uri="{FF2B5EF4-FFF2-40B4-BE49-F238E27FC236}">
                    <a16:creationId xmlns:a16="http://schemas.microsoft.com/office/drawing/2014/main" id="{16EFDE8E-0532-4673-8F1F-C2FA569CF60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312000" y="405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r Verbinder 53" hidden="1">
                <a:extLst>
                  <a:ext uri="{FF2B5EF4-FFF2-40B4-BE49-F238E27FC236}">
                    <a16:creationId xmlns:a16="http://schemas.microsoft.com/office/drawing/2014/main" id="{748FB604-83E0-4810-9F40-754B12C814F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312000" y="1269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54" hidden="1">
                <a:extLst>
                  <a:ext uri="{FF2B5EF4-FFF2-40B4-BE49-F238E27FC236}">
                    <a16:creationId xmlns:a16="http://schemas.microsoft.com/office/drawing/2014/main" id="{B439D848-F543-49C4-A523-0F5105CDE2B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312000" y="1413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55" hidden="1">
                <a:extLst>
                  <a:ext uri="{FF2B5EF4-FFF2-40B4-BE49-F238E27FC236}">
                    <a16:creationId xmlns:a16="http://schemas.microsoft.com/office/drawing/2014/main" id="{092DBF11-25BB-4F9D-8777-76E109DE780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312000" y="6165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56" hidden="1">
                <a:extLst>
                  <a:ext uri="{FF2B5EF4-FFF2-40B4-BE49-F238E27FC236}">
                    <a16:creationId xmlns:a16="http://schemas.microsoft.com/office/drawing/2014/main" id="{6F8D9144-CC2D-49E4-B176-139CB0F4E5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312000" y="6381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57" hidden="1">
                <a:extLst>
                  <a:ext uri="{FF2B5EF4-FFF2-40B4-BE49-F238E27FC236}">
                    <a16:creationId xmlns:a16="http://schemas.microsoft.com/office/drawing/2014/main" id="{8A35865E-E6A6-4A30-81BC-D4442C1E44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6741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Gerader Verbinder 58" hidden="1">
                <a:extLst>
                  <a:ext uri="{FF2B5EF4-FFF2-40B4-BE49-F238E27FC236}">
                    <a16:creationId xmlns:a16="http://schemas.microsoft.com/office/drawing/2014/main" id="{F4F9B96D-BC08-4AA2-AD74-607FDF06FF1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3861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Gerader Verbinder 59" hidden="1">
                <a:extLst>
                  <a:ext uri="{FF2B5EF4-FFF2-40B4-BE49-F238E27FC236}">
                    <a16:creationId xmlns:a16="http://schemas.microsoft.com/office/drawing/2014/main" id="{1D8403D2-DF3B-4ABC-9CCB-E845F9758B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765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60" hidden="1">
                <a:extLst>
                  <a:ext uri="{FF2B5EF4-FFF2-40B4-BE49-F238E27FC236}">
                    <a16:creationId xmlns:a16="http://schemas.microsoft.com/office/drawing/2014/main" id="{092FCC64-E090-40C8-AF9D-CFE8227C4E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2061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r Verbinder 61" hidden="1">
                <a:extLst>
                  <a:ext uri="{FF2B5EF4-FFF2-40B4-BE49-F238E27FC236}">
                    <a16:creationId xmlns:a16="http://schemas.microsoft.com/office/drawing/2014/main" id="{C7B5EC5C-5603-49F3-87D7-BAD8E39972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3717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r Verbinder 62" hidden="1">
                <a:extLst>
                  <a:ext uri="{FF2B5EF4-FFF2-40B4-BE49-F238E27FC236}">
                    <a16:creationId xmlns:a16="http://schemas.microsoft.com/office/drawing/2014/main" id="{B7F67C5C-3A54-4DEA-BA02-C8AAF07EFF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5805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r Verbinder 63" hidden="1">
                <a:extLst>
                  <a:ext uri="{FF2B5EF4-FFF2-40B4-BE49-F238E27FC236}">
                    <a16:creationId xmlns:a16="http://schemas.microsoft.com/office/drawing/2014/main" id="{00051C5E-4E02-4C41-ADA9-1914C36883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240000" y="2205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r Verbinder 65" hidden="1">
                <a:extLst>
                  <a:ext uri="{FF2B5EF4-FFF2-40B4-BE49-F238E27FC236}">
                    <a16:creationId xmlns:a16="http://schemas.microsoft.com/office/drawing/2014/main" id="{F9CABB72-DB04-4151-8CFF-9CF1E872EF5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40000" y="6957000"/>
                <a:ext cx="0" cy="144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r Verbinder 67" hidden="1">
                <a:extLst>
                  <a:ext uri="{FF2B5EF4-FFF2-40B4-BE49-F238E27FC236}">
                    <a16:creationId xmlns:a16="http://schemas.microsoft.com/office/drawing/2014/main" id="{AC449B06-628B-4753-B36B-6A8F550796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52000" y="7029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r Verbinder 69" hidden="1">
                <a:extLst>
                  <a:ext uri="{FF2B5EF4-FFF2-40B4-BE49-F238E27FC236}">
                    <a16:creationId xmlns:a16="http://schemas.microsoft.com/office/drawing/2014/main" id="{29DB25A9-ABBC-4B6C-9FF2-073CDBB062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240000" y="7029000"/>
                <a:ext cx="0" cy="72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71" hidden="1">
                <a:extLst>
                  <a:ext uri="{FF2B5EF4-FFF2-40B4-BE49-F238E27FC236}">
                    <a16:creationId xmlns:a16="http://schemas.microsoft.com/office/drawing/2014/main" id="{5CD97835-FAFA-4B78-8628-D8982180783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352000" y="7029000"/>
                <a:ext cx="0" cy="10800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r Verbinder 73" hidden="1">
                <a:extLst>
                  <a:ext uri="{FF2B5EF4-FFF2-40B4-BE49-F238E27FC236}">
                    <a16:creationId xmlns:a16="http://schemas.microsoft.com/office/drawing/2014/main" id="{2CFC1183-12C8-4E16-95D0-D9D28267EE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360000" y="765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Gerader Verbinder 75" hidden="1">
                <a:extLst>
                  <a:ext uri="{FF2B5EF4-FFF2-40B4-BE49-F238E27FC236}">
                    <a16:creationId xmlns:a16="http://schemas.microsoft.com/office/drawing/2014/main" id="{D9442195-63B5-4A59-B2C4-4102690B659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360000" y="1557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r Verbinder 77" hidden="1">
                <a:extLst>
                  <a:ext uri="{FF2B5EF4-FFF2-40B4-BE49-F238E27FC236}">
                    <a16:creationId xmlns:a16="http://schemas.microsoft.com/office/drawing/2014/main" id="{DB537524-E671-4FDA-B67E-D916FE5801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360000" y="3861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rader Verbinder 79" hidden="1">
                <a:extLst>
                  <a:ext uri="{FF2B5EF4-FFF2-40B4-BE49-F238E27FC236}">
                    <a16:creationId xmlns:a16="http://schemas.microsoft.com/office/drawing/2014/main" id="{ADC7E379-1444-4FA7-9B65-4892820E19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360000" y="4005000"/>
                <a:ext cx="72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81" hidden="1">
                <a:extLst>
                  <a:ext uri="{FF2B5EF4-FFF2-40B4-BE49-F238E27FC236}">
                    <a16:creationId xmlns:a16="http://schemas.microsoft.com/office/drawing/2014/main" id="{5BD8CE20-72CB-48E2-B052-6A073E1FD87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360000" y="1701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83" hidden="1">
                <a:extLst>
                  <a:ext uri="{FF2B5EF4-FFF2-40B4-BE49-F238E27FC236}">
                    <a16:creationId xmlns:a16="http://schemas.microsoft.com/office/drawing/2014/main" id="{533AF1BF-180B-41C5-BD07-42010C8ED72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12288000" y="6165000"/>
                <a:ext cx="144000" cy="0"/>
              </a:xfrm>
              <a:prstGeom prst="line">
                <a:avLst/>
              </a:prstGeom>
              <a:ln w="9525">
                <a:solidFill>
                  <a:schemeClr val="tx1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83880D3-FDEC-4E72-816D-B926D9228CC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839999" y="6380999"/>
            <a:ext cx="3311313" cy="359525"/>
          </a:xfrm>
        </p:spPr>
        <p:txBody>
          <a:bodyPr/>
          <a:lstStyle/>
          <a:p>
            <a:r>
              <a:rPr lang="en-US"/>
              <a:t>RGE - Industrial offer - 2024</a:t>
            </a:r>
            <a:endParaRPr lang="en-GB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9C54F3F-EB02-460B-8D96-91C00B834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30EA680-D336-4FF7-8B7A-9848BB0A1C32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2B8AFB-92A4-4AF2-8629-741B70260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405000"/>
            <a:ext cx="10512213" cy="5046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/>
          <p:cNvSpPr>
            <a:spLocks noGrp="1"/>
          </p:cNvSpPr>
          <p:nvPr>
            <p:ph type="body" sz="quarter" idx="23"/>
          </p:nvPr>
        </p:nvSpPr>
        <p:spPr>
          <a:xfrm>
            <a:off x="840000" y="909000"/>
            <a:ext cx="10512213" cy="358826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lang="en-US" sz="1600" b="1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FontTx/>
              <a:buNone/>
              <a:defRPr sz="1400">
                <a:latin typeface="Mission Gothic Regular" pitchFamily="50" charset="0"/>
              </a:defRPr>
            </a:lvl2pPr>
            <a:lvl3pPr marL="1219170" indent="0">
              <a:buFontTx/>
              <a:buNone/>
              <a:defRPr sz="1400">
                <a:latin typeface="Mission Gothic Regular" pitchFamily="50" charset="0"/>
              </a:defRPr>
            </a:lvl3pPr>
            <a:lvl4pPr marL="1828754" indent="0">
              <a:buFontTx/>
              <a:buNone/>
              <a:defRPr sz="1400">
                <a:latin typeface="Mission Gothic Regular" pitchFamily="50" charset="0"/>
              </a:defRPr>
            </a:lvl4pPr>
            <a:lvl5pPr marL="2438339" indent="0">
              <a:buFontTx/>
              <a:buNone/>
              <a:defRPr sz="1400">
                <a:latin typeface="Mission Gothic Regular" pitchFamily="50" charset="0"/>
              </a:defRPr>
            </a:lvl5pPr>
          </a:lstStyle>
          <a:p>
            <a:pPr marL="0" lvl="0" indent="0" algn="l" defTabSz="2160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3" name="Date Placeholder 6" hidden="1">
            <a:extLst>
              <a:ext uri="{FF2B5EF4-FFF2-40B4-BE49-F238E27FC236}">
                <a16:creationId xmlns:a16="http://schemas.microsoft.com/office/drawing/2014/main" id="{45956841-FB04-400B-83EB-85B6EA77C3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791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">
          <p15:clr>
            <a:srgbClr val="5ACBF0"/>
          </p15:clr>
        </p15:guide>
        <p15:guide id="3" orient="horz" pos="799">
          <p15:clr>
            <a:srgbClr val="5ACBF0"/>
          </p15:clr>
        </p15:guide>
        <p15:guide id="4" orient="horz" pos="890">
          <p15:clr>
            <a:srgbClr val="5ACBF0"/>
          </p15:clr>
        </p15:guide>
        <p15:guide id="5" orient="horz" pos="573">
          <p15:clr>
            <a:srgbClr val="A4A3A4"/>
          </p15:clr>
        </p15:guide>
        <p15:guide id="6" orient="horz" pos="3883">
          <p15:clr>
            <a:srgbClr val="5ACBF0"/>
          </p15:clr>
        </p15:guide>
        <p15:guide id="7" orient="horz" pos="4020">
          <p15:clr>
            <a:srgbClr val="5ACBF0"/>
          </p15:clr>
        </p15:guide>
        <p15:guide id="9" pos="529">
          <p15:clr>
            <a:srgbClr val="5ACBF0"/>
          </p15:clr>
        </p15:guide>
        <p15:guide id="10" pos="7151">
          <p15:clr>
            <a:srgbClr val="5ACBF0"/>
          </p15:clr>
        </p15:guide>
        <p15:guide id="11" orient="horz" pos="3657">
          <p15:clr>
            <a:srgbClr val="5ACBF0"/>
          </p15:clr>
        </p15:guide>
        <p15:guide id="12" orient="horz" pos="4246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9220"/>
            <a:ext cx="10515600" cy="74877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JM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838200" y="1022584"/>
            <a:ext cx="10515600" cy="431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="1" i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09585" indent="0">
              <a:buFontTx/>
              <a:buNone/>
              <a:defRPr sz="1400">
                <a:latin typeface="Mission Gothic Regular" pitchFamily="50" charset="0"/>
              </a:defRPr>
            </a:lvl2pPr>
            <a:lvl3pPr marL="1219170" indent="0">
              <a:buFontTx/>
              <a:buNone/>
              <a:defRPr sz="1400">
                <a:latin typeface="Mission Gothic Regular" pitchFamily="50" charset="0"/>
              </a:defRPr>
            </a:lvl3pPr>
            <a:lvl4pPr marL="1828754" indent="0">
              <a:buFontTx/>
              <a:buNone/>
              <a:defRPr sz="1400">
                <a:latin typeface="Mission Gothic Regular" pitchFamily="50" charset="0"/>
              </a:defRPr>
            </a:lvl4pPr>
            <a:lvl5pPr marL="2438339" indent="0">
              <a:buFontTx/>
              <a:buNone/>
              <a:defRPr sz="1400">
                <a:latin typeface="Mission Gothic Regular" pitchFamily="50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9CB90E0-A16B-0F44-B067-6BFAAE3DBA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30624" y="6393599"/>
            <a:ext cx="2053216" cy="365125"/>
          </a:xfrm>
        </p:spPr>
        <p:txBody>
          <a:bodyPr/>
          <a:lstStyle/>
          <a:p>
            <a:r>
              <a:rPr lang="en-US"/>
              <a:t>RGE - Industrial offer - 2024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0061CA3-D63F-524D-A34F-0003E03BD6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79778" y="6398678"/>
            <a:ext cx="358423" cy="365125"/>
          </a:xfrm>
        </p:spPr>
        <p:txBody>
          <a:bodyPr/>
          <a:lstStyle/>
          <a:p>
            <a:fld id="{811B3522-6D57-4BB5-BF7E-28D88C645D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07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6F77CAC9-1C4F-A544-9BAC-643D9CE659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364" y="1103158"/>
            <a:ext cx="10455274" cy="29527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400" b="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/>
              <a:t>SUBTITL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B44C223-5313-6945-8429-D151D0A7D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62" y="776464"/>
            <a:ext cx="1046656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kumimoji="0" lang="fr-FR" sz="2400" kern="0" spc="0" normalizeH="0" dirty="0">
                <a:ln>
                  <a:noFill/>
                </a:ln>
                <a:gradFill>
                  <a:gsLst>
                    <a:gs pos="0">
                      <a:srgbClr val="198ABB"/>
                    </a:gs>
                    <a:gs pos="100000">
                      <a:srgbClr val="3AD1B0"/>
                    </a:gs>
                  </a:gsLst>
                  <a:lin ang="2700000" scaled="1"/>
                </a:gradFill>
                <a:effectLst/>
                <a:uLnTx/>
                <a:uFillTx/>
              </a:defRPr>
            </a:lvl1pPr>
          </a:lstStyle>
          <a:p>
            <a:pPr marL="0" lvl="0" indent="0" defTabSz="914400" eaLnBrk="1" fontAlgn="auto" latinLnBrk="0" hangingPunct="1">
              <a:buSzTx/>
              <a:buNone/>
              <a:tabLst/>
            </a:pPr>
            <a:r>
              <a:rPr lang="fr-FR"/>
              <a:t>TITL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D3AFA4B-8074-462B-B93F-1DF04D926F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7077" y="1625600"/>
            <a:ext cx="10466562" cy="44561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9321769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AEC1883-C45C-D06C-9142-E366C4B8FB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B4125287-B34A-2523-9384-1A2D5F4913E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H="1">
            <a:off x="412750" y="1571623"/>
            <a:ext cx="900000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ctr"/>
            <a:r>
              <a:rPr lang="fr-FR" sz="3600" b="0">
                <a:solidFill>
                  <a:schemeClr val="tx2"/>
                </a:solidFill>
                <a:latin typeface="+mj-lt"/>
              </a:rPr>
              <a:t>01</a:t>
            </a:r>
          </a:p>
        </p:txBody>
      </p:sp>
      <p:sp>
        <p:nvSpPr>
          <p:cNvPr id="26" name="ZoneTexte 2">
            <a:extLst>
              <a:ext uri="{FF2B5EF4-FFF2-40B4-BE49-F238E27FC236}">
                <a16:creationId xmlns:a16="http://schemas.microsoft.com/office/drawing/2014/main" id="{162C5399-223E-EB66-8749-BE72DEE014BB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1312750" y="1571623"/>
            <a:ext cx="9744913" cy="72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fr-FR" b="1">
                <a:latin typeface="+mj-lt"/>
              </a:rPr>
              <a:t>A</a:t>
            </a:r>
          </a:p>
        </p:txBody>
      </p:sp>
      <p:sp>
        <p:nvSpPr>
          <p:cNvPr id="27" name="ZoneTexte 9">
            <a:extLst>
              <a:ext uri="{FF2B5EF4-FFF2-40B4-BE49-F238E27FC236}">
                <a16:creationId xmlns:a16="http://schemas.microsoft.com/office/drawing/2014/main" id="{7B53EF22-EC29-A4C9-1725-6CA4EE67BDC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057663" y="1571623"/>
            <a:ext cx="720000" cy="72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fr-FR" b="1">
                <a:latin typeface="+mj-lt"/>
              </a:rPr>
              <a:t>1</a:t>
            </a:r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CA02EA0C-77FA-76D2-1CF3-9AA3A8497BB0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12750" y="2700149"/>
            <a:ext cx="900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 anchorCtr="0">
            <a:noAutofit/>
          </a:bodyPr>
          <a:lstStyle/>
          <a:p>
            <a:pPr algn="ctr"/>
            <a:r>
              <a:rPr lang="fr-FR" sz="1400" b="1">
                <a:solidFill>
                  <a:schemeClr val="tx2"/>
                </a:solidFill>
                <a:latin typeface="+mn-lt"/>
              </a:rPr>
              <a:t>1.1</a:t>
            </a:r>
          </a:p>
        </p:txBody>
      </p:sp>
      <p:sp>
        <p:nvSpPr>
          <p:cNvPr id="29" name="ZoneTexte 11">
            <a:extLst>
              <a:ext uri="{FF2B5EF4-FFF2-40B4-BE49-F238E27FC236}">
                <a16:creationId xmlns:a16="http://schemas.microsoft.com/office/drawing/2014/main" id="{D96849F5-C32D-785F-8AA7-33C81B39D4F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312750" y="2700149"/>
            <a:ext cx="9744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>
                <a:solidFill>
                  <a:srgbClr val="00B2BB"/>
                </a:solidFill>
                <a:latin typeface="+mn-lt"/>
              </a:rPr>
              <a:t>A</a:t>
            </a:r>
          </a:p>
        </p:txBody>
      </p:sp>
      <p:sp>
        <p:nvSpPr>
          <p:cNvPr id="30" name="ZoneTexte 12">
            <a:extLst>
              <a:ext uri="{FF2B5EF4-FFF2-40B4-BE49-F238E27FC236}">
                <a16:creationId xmlns:a16="http://schemas.microsoft.com/office/drawing/2014/main" id="{CD4F4237-B925-191C-7E00-EC1D2E8C51C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1057663" y="2700149"/>
            <a:ext cx="720000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fr-FR" sz="1400" b="1">
                <a:solidFill>
                  <a:srgbClr val="00B2BB"/>
                </a:solidFill>
                <a:latin typeface="+mn-lt"/>
              </a:rPr>
              <a:t>1</a:t>
            </a:r>
          </a:p>
        </p:txBody>
      </p:sp>
      <p:sp>
        <p:nvSpPr>
          <p:cNvPr id="31" name="ZoneTexte 13">
            <a:extLst>
              <a:ext uri="{FF2B5EF4-FFF2-40B4-BE49-F238E27FC236}">
                <a16:creationId xmlns:a16="http://schemas.microsoft.com/office/drawing/2014/main" id="{202149F2-ECC7-15E6-EE8D-0E76B649B8F9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312750" y="3076436"/>
            <a:ext cx="9744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0" i="0">
                <a:solidFill>
                  <a:srgbClr val="00B2BB"/>
                </a:solidFill>
                <a:latin typeface="+mn-lt"/>
              </a:rPr>
              <a:t>A</a:t>
            </a:r>
          </a:p>
        </p:txBody>
      </p:sp>
      <p:sp>
        <p:nvSpPr>
          <p:cNvPr id="32" name="ZoneTexte 14">
            <a:extLst>
              <a:ext uri="{FF2B5EF4-FFF2-40B4-BE49-F238E27FC236}">
                <a16:creationId xmlns:a16="http://schemas.microsoft.com/office/drawing/2014/main" id="{B88B3064-B661-466B-A12A-53D713F03C6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1057663" y="3076436"/>
            <a:ext cx="720000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fr-FR" sz="1400" b="0" i="0">
                <a:solidFill>
                  <a:srgbClr val="00B2BB"/>
                </a:solidFill>
                <a:latin typeface="+mn-lt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5A3C1E4-8C1C-F486-7794-61E8DC46A3B4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>
          <a:xfrm>
            <a:off x="412750" y="1571625"/>
            <a:ext cx="11364913" cy="48672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3382186-E06D-EF09-9ABA-41654ED959A0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4496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959366C-EC26-8B4B-89E3-BDBAB1E944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5AE4AF79-7F81-3BE9-7DDC-A5D8E92719D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76000" y="2044800"/>
            <a:ext cx="2710800" cy="165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>
            <a:noAutofit/>
          </a:bodyPr>
          <a:lstStyle/>
          <a:p>
            <a:pPr algn="ctr"/>
            <a:r>
              <a:rPr lang="fr-FR" sz="11500" b="1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14" name="ZoneTexte 2">
            <a:extLst>
              <a:ext uri="{FF2B5EF4-FFF2-40B4-BE49-F238E27FC236}">
                <a16:creationId xmlns:a16="http://schemas.microsoft.com/office/drawing/2014/main" id="{7FE891AC-CC82-5B4B-75C5-38F18C01403F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3286801" y="2044800"/>
            <a:ext cx="7740000" cy="1569660"/>
          </a:xfrm>
          <a:prstGeom prst="rect">
            <a:avLst/>
          </a:prstGeom>
          <a:noFill/>
        </p:spPr>
        <p:txBody>
          <a:bodyPr wrap="square" lIns="0" tIns="1800000" rIns="0" bIns="180000" rtlCol="0" anchor="t">
            <a:noAutofit/>
          </a:bodyPr>
          <a:lstStyle/>
          <a:p>
            <a:pPr algn="r"/>
            <a:r>
              <a:rPr lang="fr-FR" sz="3200" b="1">
                <a:latin typeface="+mn-lt"/>
              </a:rPr>
              <a:t>A</a:t>
            </a:r>
          </a:p>
        </p:txBody>
      </p:sp>
      <p:sp>
        <p:nvSpPr>
          <p:cNvPr id="15" name="ZoneTexte 9">
            <a:extLst>
              <a:ext uri="{FF2B5EF4-FFF2-40B4-BE49-F238E27FC236}">
                <a16:creationId xmlns:a16="http://schemas.microsoft.com/office/drawing/2014/main" id="{B6381BCA-1859-B35E-4EA3-374611BF1F4E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026802" y="2044800"/>
            <a:ext cx="750862" cy="165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fr-FR" b="1">
                <a:noFill/>
                <a:latin typeface="Garamond" pitchFamily="18" charset="0"/>
              </a:rPr>
              <a:t>1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5889D38B-F7B2-0EE2-745E-E55604A63C8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76000" y="5459171"/>
            <a:ext cx="2710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t" anchorCtr="0">
            <a:noAutofit/>
          </a:bodyPr>
          <a:lstStyle/>
          <a:p>
            <a:pPr algn="r"/>
            <a:r>
              <a:rPr lang="fr-FR" sz="2000" b="1">
                <a:latin typeface="+mn-lt"/>
              </a:rPr>
              <a:t>1.1</a:t>
            </a:r>
          </a:p>
        </p:txBody>
      </p:sp>
      <p:sp>
        <p:nvSpPr>
          <p:cNvPr id="17" name="ZoneTexte 11">
            <a:extLst>
              <a:ext uri="{FF2B5EF4-FFF2-40B4-BE49-F238E27FC236}">
                <a16:creationId xmlns:a16="http://schemas.microsoft.com/office/drawing/2014/main" id="{F81C5E50-214D-08A8-E789-61E9B3456454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286801" y="5459171"/>
            <a:ext cx="7740000" cy="307777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algn="r"/>
            <a:r>
              <a:rPr lang="fr-FR" sz="2000" b="1">
                <a:latin typeface="+mn-lt"/>
              </a:rPr>
              <a:t>A</a:t>
            </a:r>
          </a:p>
        </p:txBody>
      </p:sp>
      <p:sp>
        <p:nvSpPr>
          <p:cNvPr id="18" name="ZoneTexte 12">
            <a:extLst>
              <a:ext uri="{FF2B5EF4-FFF2-40B4-BE49-F238E27FC236}">
                <a16:creationId xmlns:a16="http://schemas.microsoft.com/office/drawing/2014/main" id="{A413AF6E-4A43-9506-EF63-042B86383C9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1026802" y="5459171"/>
            <a:ext cx="750862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fr-FR" sz="2000" b="1">
                <a:latin typeface="+mn-lt"/>
              </a:rPr>
              <a:t>1</a:t>
            </a:r>
          </a:p>
        </p:txBody>
      </p:sp>
      <p:sp>
        <p:nvSpPr>
          <p:cNvPr id="19" name="ZoneTexte 13">
            <a:extLst>
              <a:ext uri="{FF2B5EF4-FFF2-40B4-BE49-F238E27FC236}">
                <a16:creationId xmlns:a16="http://schemas.microsoft.com/office/drawing/2014/main" id="{E5F719AD-1737-20B9-9108-D76A35BA58F6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286801" y="5835459"/>
            <a:ext cx="7740000" cy="3077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FR" sz="2000" i="0">
                <a:latin typeface="+mn-lt"/>
              </a:rPr>
              <a:t>A</a:t>
            </a:r>
          </a:p>
        </p:txBody>
      </p:sp>
      <p:sp>
        <p:nvSpPr>
          <p:cNvPr id="20" name="ZoneTexte 14">
            <a:extLst>
              <a:ext uri="{FF2B5EF4-FFF2-40B4-BE49-F238E27FC236}">
                <a16:creationId xmlns:a16="http://schemas.microsoft.com/office/drawing/2014/main" id="{6E02DA63-B30D-B308-9346-4305F272E21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1026802" y="5835458"/>
            <a:ext cx="750862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fr-FR" sz="2000" i="0">
                <a:latin typeface="+mn-lt"/>
              </a:rPr>
              <a:t>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2385B1-7563-A989-17B3-F8C685031F6F}"/>
              </a:ext>
            </a:extLst>
          </p:cNvPr>
          <p:cNvSpPr>
            <a:spLocks/>
          </p:cNvSpPr>
          <p:nvPr userDrawn="1">
            <p:custDataLst>
              <p:tags r:id="rId9"/>
            </p:custDataLst>
          </p:nvPr>
        </p:nvSpPr>
        <p:spPr>
          <a:xfrm>
            <a:off x="576000" y="2044802"/>
            <a:ext cx="11201663" cy="44163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A38AFF-1A8E-CB8D-B945-815FC84EA6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2940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32B0173-5192-4200-921F-B04D916BB39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6EF29946-6632-1EF5-E2EB-F781BB030EB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60039" y="650338"/>
            <a:ext cx="0" cy="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t">
            <a:noAutofit/>
          </a:bodyPr>
          <a:lstStyle/>
          <a:p>
            <a:pPr algn="ctr"/>
            <a:r>
              <a:rPr lang="fr-FR" sz="100" b="1">
                <a:noFill/>
                <a:latin typeface="Garamond" pitchFamily="18" charset="0"/>
              </a:rPr>
              <a:t>1</a:t>
            </a:r>
          </a:p>
        </p:txBody>
      </p:sp>
      <p:sp>
        <p:nvSpPr>
          <p:cNvPr id="14" name="ZoneTexte 2">
            <a:extLst>
              <a:ext uri="{FF2B5EF4-FFF2-40B4-BE49-F238E27FC236}">
                <a16:creationId xmlns:a16="http://schemas.microsoft.com/office/drawing/2014/main" id="{0F07B3AA-2F9B-9534-D121-E04711F8C40A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260040" y="650338"/>
            <a:ext cx="10766762" cy="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r>
              <a:rPr lang="fr-FR" sz="100" b="1">
                <a:noFill/>
                <a:latin typeface="Garamond" pitchFamily="18" charset="0"/>
              </a:rPr>
              <a:t>A</a:t>
            </a:r>
          </a:p>
        </p:txBody>
      </p:sp>
      <p:sp>
        <p:nvSpPr>
          <p:cNvPr id="15" name="ZoneTexte 9">
            <a:extLst>
              <a:ext uri="{FF2B5EF4-FFF2-40B4-BE49-F238E27FC236}">
                <a16:creationId xmlns:a16="http://schemas.microsoft.com/office/drawing/2014/main" id="{E314CE48-D3CE-D60B-A41E-55A3AEED90A8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1026802" y="650338"/>
            <a:ext cx="750862" cy="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fr-FR" sz="100" b="1">
                <a:noFill/>
                <a:latin typeface="Garamond" pitchFamily="18" charset="0"/>
              </a:rPr>
              <a:t>1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4FF26D5D-4EE2-DA3A-C602-B2CCB4772CB4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60039" y="650338"/>
            <a:ext cx="0" cy="3168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88000" anchor="t" anchorCtr="0">
            <a:noAutofit/>
          </a:bodyPr>
          <a:lstStyle/>
          <a:p>
            <a:pPr algn="l"/>
            <a:r>
              <a:rPr lang="fr-FR" sz="9600" b="1">
                <a:solidFill>
                  <a:schemeClr val="tx1"/>
                </a:solidFill>
                <a:latin typeface="+mj-lt"/>
              </a:rPr>
              <a:t>1.1</a:t>
            </a:r>
          </a:p>
        </p:txBody>
      </p:sp>
      <p:sp>
        <p:nvSpPr>
          <p:cNvPr id="17" name="ZoneTexte 11">
            <a:extLst>
              <a:ext uri="{FF2B5EF4-FFF2-40B4-BE49-F238E27FC236}">
                <a16:creationId xmlns:a16="http://schemas.microsoft.com/office/drawing/2014/main" id="{E40D85D7-8B3F-206E-1337-1A00C8867080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260040" y="650338"/>
            <a:ext cx="10766762" cy="3168995"/>
          </a:xfrm>
          <a:prstGeom prst="rect">
            <a:avLst/>
          </a:prstGeom>
          <a:noFill/>
        </p:spPr>
        <p:txBody>
          <a:bodyPr wrap="square" lIns="144000" tIns="1872000" rIns="5760000" bIns="0" rtlCol="0">
            <a:noAutofit/>
          </a:bodyPr>
          <a:lstStyle/>
          <a:p>
            <a:r>
              <a:rPr lang="fr-FR" sz="2400" b="1">
                <a:latin typeface="+mn-lt"/>
              </a:rPr>
              <a:t>A</a:t>
            </a:r>
          </a:p>
        </p:txBody>
      </p:sp>
      <p:sp>
        <p:nvSpPr>
          <p:cNvPr id="18" name="ZoneTexte 12">
            <a:extLst>
              <a:ext uri="{FF2B5EF4-FFF2-40B4-BE49-F238E27FC236}">
                <a16:creationId xmlns:a16="http://schemas.microsoft.com/office/drawing/2014/main" id="{3C87130E-B99F-FDFF-0B73-29114664587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1026802" y="650338"/>
            <a:ext cx="750862" cy="316899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fr-FR" sz="2000" b="1" i="0">
                <a:noFill/>
                <a:latin typeface="+mn-lt"/>
              </a:rPr>
              <a:t>1</a:t>
            </a:r>
          </a:p>
        </p:txBody>
      </p:sp>
      <p:sp>
        <p:nvSpPr>
          <p:cNvPr id="19" name="ZoneTexte 13">
            <a:extLst>
              <a:ext uri="{FF2B5EF4-FFF2-40B4-BE49-F238E27FC236}">
                <a16:creationId xmlns:a16="http://schemas.microsoft.com/office/drawing/2014/main" id="{4606EA76-A65D-05E7-1C7E-274B7CB5CF3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260040" y="4216208"/>
            <a:ext cx="10766762" cy="28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FR" sz="2000" i="0">
                <a:solidFill>
                  <a:schemeClr val="tx1"/>
                </a:solidFill>
                <a:latin typeface="+mn-lt"/>
              </a:rPr>
              <a:t>A</a:t>
            </a:r>
          </a:p>
        </p:txBody>
      </p:sp>
      <p:sp>
        <p:nvSpPr>
          <p:cNvPr id="20" name="ZoneTexte 14">
            <a:extLst>
              <a:ext uri="{FF2B5EF4-FFF2-40B4-BE49-F238E27FC236}">
                <a16:creationId xmlns:a16="http://schemas.microsoft.com/office/drawing/2014/main" id="{AD3D4622-7ED4-A93E-5DF1-D320B670023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1026802" y="4216208"/>
            <a:ext cx="750862" cy="2880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r"/>
            <a:r>
              <a:rPr lang="fr-FR" sz="2000" i="0">
                <a:solidFill>
                  <a:schemeClr val="tx1"/>
                </a:solidFill>
                <a:latin typeface="+mn-lt"/>
              </a:rPr>
              <a:t>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523ABD7-4BC8-26DA-E28D-96F9E272BA4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60039" y="650340"/>
            <a:ext cx="11517624" cy="581078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4C9003-19AF-8B14-1087-A87A9E2C40A5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236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F4C742-CED2-6BEC-D913-77AFA631B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195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Slide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6748F7-AA76-453A-8FB6-732416A04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Other Sections" descr="{ &quot;DisplayMode&quot; : &quot;SectionsOnly&quot; }">
            <a:extLst>
              <a:ext uri="{FF2B5EF4-FFF2-40B4-BE49-F238E27FC236}">
                <a16:creationId xmlns:a16="http://schemas.microsoft.com/office/drawing/2014/main" id="{1D1AD9E7-D778-49B2-9ED1-9BB2F780892C}"/>
              </a:ext>
            </a:extLst>
          </p:cNvPr>
          <p:cNvSpPr txBox="1"/>
          <p:nvPr userDrawn="1"/>
        </p:nvSpPr>
        <p:spPr>
          <a:xfrm>
            <a:off x="418964" y="37525"/>
            <a:ext cx="295447" cy="187285"/>
          </a:xfrm>
          <a:prstGeom prst="bracketPair">
            <a:avLst/>
          </a:prstGeom>
          <a:noFill/>
          <a:ln>
            <a:solidFill>
              <a:schemeClr val="tx2"/>
            </a:solidFill>
          </a:ln>
        </p:spPr>
        <p:txBody>
          <a:bodyPr vert="horz" wrap="none" tIns="0" bIns="0" rtlCol="0" anchor="ctr">
            <a:spAutoFit/>
          </a:bodyPr>
          <a:lstStyle/>
          <a:p>
            <a:pPr algn="l"/>
            <a:r>
              <a:rPr lang="fr-FR" sz="1100">
                <a:solidFill>
                  <a:schemeClr val="tx2"/>
                </a:solidFill>
                <a:latin typeface="+mn-lt"/>
              </a:rPr>
              <a:t>A</a:t>
            </a:r>
          </a:p>
        </p:txBody>
      </p:sp>
      <p:sp>
        <p:nvSpPr>
          <p:cNvPr id="4" name="Current Section">
            <a:extLst>
              <a:ext uri="{FF2B5EF4-FFF2-40B4-BE49-F238E27FC236}">
                <a16:creationId xmlns:a16="http://schemas.microsoft.com/office/drawing/2014/main" id="{4CF3493A-3887-40A4-8C97-6D64F76CC07D}"/>
              </a:ext>
            </a:extLst>
          </p:cNvPr>
          <p:cNvSpPr txBox="1"/>
          <p:nvPr userDrawn="1"/>
        </p:nvSpPr>
        <p:spPr>
          <a:xfrm>
            <a:off x="805172" y="37525"/>
            <a:ext cx="310711" cy="187285"/>
          </a:xfrm>
          <a:prstGeom prst="bracketPair">
            <a:avLst/>
          </a:prstGeom>
          <a:noFill/>
          <a:ln w="28575">
            <a:solidFill>
              <a:schemeClr val="accent2"/>
            </a:solidFill>
          </a:ln>
        </p:spPr>
        <p:txBody>
          <a:bodyPr vert="horz" wrap="none" tIns="0" bIns="0" rtlCol="0" anchor="ctr">
            <a:spAutoFit/>
          </a:bodyPr>
          <a:lstStyle/>
          <a:p>
            <a:pPr algn="l"/>
            <a:r>
              <a:rPr lang="fr-FR" sz="1100" b="1">
                <a:solidFill>
                  <a:schemeClr val="accent2"/>
                </a:solidFill>
                <a:latin typeface="+mj-lt"/>
              </a:rPr>
              <a:t>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C4001E-38FC-6437-A600-FE9B46296C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BDBD"/>
          </a:solidFill>
          <a:ln>
            <a:solidFill>
              <a:srgbClr val="BDBD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9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3E97174-E413-70C4-8444-C1CC8C1279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A3806D5-18E8-99D6-A0E1-F5B7A02CE3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68225" y="6507009"/>
            <a:ext cx="609437" cy="215444"/>
          </a:xfrm>
          <a:prstGeom prst="rect">
            <a:avLst/>
          </a:prstGeom>
        </p:spPr>
        <p:txBody>
          <a:bodyPr/>
          <a:lstStyle/>
          <a:p>
            <a:pPr algn="r"/>
            <a:fld id="{5CDEAB73-A1E5-46FE-814D-1391BB7E2BFC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DCE4D1E-E989-CF22-3E2D-AD41708AE32D}"/>
              </a:ext>
            </a:extLst>
          </p:cNvPr>
          <p:cNvSpPr txBox="1">
            <a:spLocks/>
          </p:cNvSpPr>
          <p:nvPr userDrawn="1"/>
        </p:nvSpPr>
        <p:spPr>
          <a:xfrm>
            <a:off x="1021474" y="6513767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602512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20871AF-BCF9-24D5-66A9-235650BAADC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D6542C5-1414-59C6-C2A7-22F99A774BB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1" name="Espace réservé du contenu 1">
            <a:extLst>
              <a:ext uri="{FF2B5EF4-FFF2-40B4-BE49-F238E27FC236}">
                <a16:creationId xmlns:a16="http://schemas.microsoft.com/office/drawing/2014/main" id="{2ADBAB74-F915-5772-0C95-C93E9B01E83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15132" y="1574073"/>
            <a:ext cx="1136253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 marL="180000"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7BFB4D6-4281-5C38-1BC1-4E9A7853EDE3}"/>
              </a:ext>
            </a:extLst>
          </p:cNvPr>
          <p:cNvSpPr txBox="1">
            <a:spLocks/>
          </p:cNvSpPr>
          <p:nvPr userDrawn="1"/>
        </p:nvSpPr>
        <p:spPr>
          <a:xfrm>
            <a:off x="1023775" y="6526916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065425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71761F85-74FF-4A8A-879A-E05B122BAAB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5501481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8184277-6D63-41FB-BC30-0C91E3EC646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388" y="1574073"/>
            <a:ext cx="5501482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1BCB8459-5C1F-FB30-F661-64395D7292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FBDB10-20D2-49F2-EEFE-9922DB0106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80C193F5-7553-CB13-0010-3E6392D23A2E}"/>
              </a:ext>
            </a:extLst>
          </p:cNvPr>
          <p:cNvSpPr txBox="1">
            <a:spLocks/>
          </p:cNvSpPr>
          <p:nvPr userDrawn="1"/>
        </p:nvSpPr>
        <p:spPr>
          <a:xfrm>
            <a:off x="1021474" y="6513767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22323859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8D5E395D-BD41-4F75-AF73-305D0495694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1" y="1574073"/>
            <a:ext cx="11361738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F11BD1B2-34A9-4FA2-BEB0-E90C71C1FB2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5131" y="4197350"/>
            <a:ext cx="11361738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62CD712-1BF4-D4C3-8CA0-F0F1D524FAE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CB26A7D-B5C4-6025-6AC3-4B04897646B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35F7F4C0-2C9E-3961-89FF-FB7C1E213E2D}"/>
              </a:ext>
            </a:extLst>
          </p:cNvPr>
          <p:cNvSpPr txBox="1">
            <a:spLocks/>
          </p:cNvSpPr>
          <p:nvPr userDrawn="1"/>
        </p:nvSpPr>
        <p:spPr>
          <a:xfrm>
            <a:off x="1021474" y="6513767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3123493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5C4EFBB-0749-465B-A4EA-9889F4322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8B98B5C-68FA-44D0-AB11-8EA1B8FE3E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0B1EC9C2-79AC-4948-916C-AADF812ACD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15132" y="1574073"/>
            <a:ext cx="5501481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4B50EC2-A35A-418D-BACF-EE8BEEA231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15132" y="4197350"/>
            <a:ext cx="5501481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27FCF2-71E2-4E03-9D99-F7B002DC074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75389" y="1574073"/>
            <a:ext cx="5501481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1EAD4994-61E0-4B97-AECB-E670A7834DA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75389" y="4197350"/>
            <a:ext cx="5501481" cy="226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/>
            </a:lvl1pPr>
            <a:lvl2pPr>
              <a:defRPr lang="fr-FR" smtClean="0"/>
            </a:lvl2pPr>
            <a:lvl3pPr>
              <a:defRPr lang="fr-FR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A0B4F92-97A0-2982-2E29-C514FEADC5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69724B-50CB-BF15-9D15-F7C69AE863A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1E94165B-92B8-83E7-0E7C-72829E85FA1D}"/>
              </a:ext>
            </a:extLst>
          </p:cNvPr>
          <p:cNvSpPr txBox="1">
            <a:spLocks/>
          </p:cNvSpPr>
          <p:nvPr userDrawn="1"/>
        </p:nvSpPr>
        <p:spPr>
          <a:xfrm>
            <a:off x="1021474" y="6513767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accent6"/>
                </a:solidFill>
              </a:rPr>
              <a:t>| 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2547492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0B1EC9C2-79AC-4948-916C-AADF812ACD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1574073"/>
            <a:ext cx="5641461" cy="2265363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4B50EC2-A35A-418D-BACF-EE8BEEA231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-4627" y="4197350"/>
            <a:ext cx="5641461" cy="2265363"/>
          </a:xfrm>
          <a:prstGeom prst="rect">
            <a:avLst/>
          </a:prstGeom>
          <a:solidFill>
            <a:srgbClr val="00B2BB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27FCF2-71E2-4E03-9D99-F7B002DC074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136202" y="1574073"/>
            <a:ext cx="5641461" cy="2265363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1EAD4994-61E0-4B97-AECB-E670A7834DA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31575" y="4197350"/>
            <a:ext cx="5641461" cy="2265363"/>
          </a:xfrm>
          <a:prstGeom prst="rect">
            <a:avLst/>
          </a:prstGeom>
          <a:solidFill>
            <a:srgbClr val="278CBC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fr-FR" smtClean="0">
                <a:solidFill>
                  <a:schemeClr val="bg1"/>
                </a:solidFill>
              </a:defRPr>
            </a:lvl1pPr>
            <a:lvl2pPr>
              <a:defRPr lang="fr-FR" smtClean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lang="fr-FR" smtClean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lang="fr-FR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Utilisez Alt + Maj + Flèches G/D pour naviguer entre les niveaux de text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A0B4F92-97A0-2982-2E29-C514FEADC5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053E7788-29B1-EC12-40DE-5E23B26737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5CDEAB73-A1E5-46FE-814D-1391BB7E2BFC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5E3C35C1-EDA6-4C4C-B98C-B63183A58E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 anchorCtr="0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5F42073D-78A0-41FB-B25A-63654E491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963" y="344233"/>
            <a:ext cx="11354073" cy="414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504715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ésultats G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A0B4F92-97A0-2982-2E29-C514FEADC5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053E7788-29B1-EC12-40DE-5E23B26737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5CDEAB73-A1E5-46FE-814D-1391BB7E2BFC}" type="slidenum">
              <a:rPr lang="fr-FR" smtClean="0"/>
              <a:pPr algn="r"/>
              <a:t>‹#›</a:t>
            </a:fld>
            <a:endParaRPr lang="fr-FR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B6A1D274-80E1-4194-965F-D09B67154FD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67522" y="1811355"/>
            <a:ext cx="4705514" cy="375746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C1F609-2D4A-421C-8E73-06A2C3471E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10529" y="1811356"/>
            <a:ext cx="3251199" cy="387804"/>
          </a:xfrm>
          <a:solidFill>
            <a:srgbClr val="67AE6E">
              <a:alpha val="60000"/>
            </a:srgbClr>
          </a:solidFill>
        </p:spPr>
        <p:txBody>
          <a:bodyPr lIns="36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5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R-GBU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4A1CD40-E4AC-4300-8940-5D7D623E36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10529" y="3939871"/>
            <a:ext cx="3251199" cy="387804"/>
          </a:xfrm>
          <a:solidFill>
            <a:srgbClr val="278CBC">
              <a:alpha val="60000"/>
            </a:srgbClr>
          </a:solidFill>
        </p:spPr>
        <p:txBody>
          <a:bodyPr lIns="18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5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N-GBU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B7CFBD5-FA38-4AFB-BDAD-0DC35A5A71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3939871"/>
            <a:ext cx="3251199" cy="387804"/>
          </a:xfrm>
          <a:solidFill>
            <a:srgbClr val="00B2BB">
              <a:alpha val="60000"/>
            </a:srgbClr>
          </a:solidFill>
        </p:spPr>
        <p:txBody>
          <a:bodyPr lIns="18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5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T&amp;S-GBU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2CA63CD-7261-4875-9400-74C2244090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811356"/>
            <a:ext cx="3251199" cy="387804"/>
          </a:xfrm>
          <a:solidFill>
            <a:schemeClr val="accent4">
              <a:alpha val="60000"/>
            </a:schemeClr>
          </a:solidFill>
        </p:spPr>
        <p:txBody>
          <a:bodyPr lIns="360000" rIns="252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500" kern="12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ES-GBU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68A0BBF8-25CE-4CCB-BA17-DEFE64F193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338" y="4324372"/>
            <a:ext cx="2836861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00B2BB"/>
                </a:solidFill>
              </a:defRPr>
            </a:lvl1pPr>
          </a:lstStyle>
          <a:p>
            <a:pPr lvl="0"/>
            <a:r>
              <a:rPr lang="fr-FR"/>
              <a:t>0,00 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C138AFF3-A656-4151-840D-E058C244B7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338" y="2195857"/>
            <a:ext cx="2836861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0,00 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AF2CDBC0-0654-4124-B65E-9E2D939BDC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24867" y="2195857"/>
            <a:ext cx="2836861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67AE6E"/>
                </a:solidFill>
              </a:defRPr>
            </a:lvl1pPr>
          </a:lstStyle>
          <a:p>
            <a:pPr lvl="0"/>
            <a:r>
              <a:rPr lang="fr-FR"/>
              <a:t>00 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2D85FD0D-88B8-4B28-B924-F641585C9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4867" y="4318439"/>
            <a:ext cx="2836861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278CBC"/>
                </a:solidFill>
              </a:defRPr>
            </a:lvl1pPr>
          </a:lstStyle>
          <a:p>
            <a:pPr lvl="0"/>
            <a:r>
              <a:rPr lang="fr-FR"/>
              <a:t>00 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4E28F990-B16B-4967-9EA8-6C5B01E3F9E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4338" y="5197859"/>
            <a:ext cx="2836861" cy="36933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ommentair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D71D1237-9181-49C2-9659-23A0B6A2EF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24867" y="5199485"/>
            <a:ext cx="2836861" cy="36933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ommentair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9D1B41FE-2F97-457E-AC86-25FF8652F0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24867" y="3069344"/>
            <a:ext cx="2836861" cy="36933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ommentaires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E2C0620E-B9C5-4D87-A0A4-D5FABC76A3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4338" y="3069344"/>
            <a:ext cx="2836861" cy="36933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/>
              <a:t>Commentaires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FABDBB7F-15CA-4C44-AECF-78B53FA0E0C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4338" y="827405"/>
            <a:ext cx="11363325" cy="317500"/>
          </a:xfrm>
        </p:spPr>
        <p:txBody>
          <a:bodyPr tIns="72000" bIns="36000" anchor="b" anchorCtr="0">
            <a:noAutofit/>
          </a:bodyPr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7" name="Espace réservé du titre 1">
            <a:extLst>
              <a:ext uri="{FF2B5EF4-FFF2-40B4-BE49-F238E27FC236}">
                <a16:creationId xmlns:a16="http://schemas.microsoft.com/office/drawing/2014/main" id="{A83DE7BA-5508-4657-9D21-E81FD440F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8963" y="344233"/>
            <a:ext cx="11354073" cy="414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8985974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AEEA704-51C3-40CD-A692-12303A773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963" y="344233"/>
            <a:ext cx="11354073" cy="41447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8FA1293-1FCC-43EC-883C-0C7F0CD8BE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1124" y="6507009"/>
            <a:ext cx="4707101" cy="2154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RGE - Industrial offer - 2024</a:t>
            </a:r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443C2F8-3105-485A-BEE6-8046DA14E1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131" y="1574073"/>
            <a:ext cx="11361738" cy="4888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  <a:p>
            <a:pPr lvl="5"/>
            <a:r>
              <a:rPr lang="fr-FR"/>
              <a:t>Sixième niveau</a:t>
            </a:r>
          </a:p>
          <a:p>
            <a:pPr lvl="6"/>
            <a:r>
              <a:rPr lang="fr-FR"/>
              <a:t>Septième niveau</a:t>
            </a:r>
          </a:p>
          <a:p>
            <a:pPr lvl="7"/>
            <a:r>
              <a:rPr lang="fr-FR"/>
              <a:t>Huitième niveau</a:t>
            </a:r>
          </a:p>
          <a:p>
            <a:pPr lvl="8"/>
            <a:r>
              <a:rPr lang="fr-FR"/>
              <a:t>Neuvième niveau</a:t>
            </a:r>
          </a:p>
        </p:txBody>
      </p:sp>
      <p:pic>
        <p:nvPicPr>
          <p:cNvPr id="10" name="Image 8">
            <a:extLst>
              <a:ext uri="{FF2B5EF4-FFF2-40B4-BE49-F238E27FC236}">
                <a16:creationId xmlns:a16="http://schemas.microsoft.com/office/drawing/2014/main" id="{EF9226D5-A8A7-141E-4204-4028DF188DE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38" y="6507009"/>
            <a:ext cx="598629" cy="215444"/>
          </a:xfrm>
          <a:prstGeom prst="rect">
            <a:avLst/>
          </a:prstGeom>
          <a:ln>
            <a:noFill/>
          </a:ln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F3E7E91-CEEE-F937-053C-B8E02C08C416}"/>
              </a:ext>
            </a:extLst>
          </p:cNvPr>
          <p:cNvSpPr txBox="1">
            <a:spLocks/>
          </p:cNvSpPr>
          <p:nvPr userDrawn="1"/>
        </p:nvSpPr>
        <p:spPr>
          <a:xfrm>
            <a:off x="5730875" y="6507009"/>
            <a:ext cx="730250" cy="215444"/>
          </a:xfrm>
          <a:prstGeom prst="rect">
            <a:avLst/>
          </a:prstGeom>
        </p:spPr>
        <p:txBody>
          <a:bodyPr vert="horz" lIns="0" tIns="0" rIns="36000" bIns="0" rtlCol="0" anchor="ctr"/>
          <a:lstStyle>
            <a:defPPr>
              <a:defRPr lang="fr-FR"/>
            </a:defPPr>
            <a:lvl1pPr algn="r">
              <a:defRPr sz="800"/>
            </a:lvl1pPr>
          </a:lstStyle>
          <a:p>
            <a:pPr lvl="0" algn="ctr"/>
            <a:r>
              <a:rPr lang="fr-FR"/>
              <a:t>© ENGIE 2024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8012304-EF06-4947-077B-3B7E6FF23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68226" y="6507009"/>
            <a:ext cx="609437" cy="2154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EAAC4091-A270-4E27-A4DE-B8A83EF38F73}" type="slidenum">
              <a:rPr lang="fr-FR" smtClean="0"/>
              <a:pPr/>
              <a:t>‹#›</a:t>
            </a:fld>
            <a:endParaRPr lang="fr-FR"/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F3D7BA29-9CAD-153A-856E-728702CCC09E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766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6" r:id="rId3"/>
    <p:sldLayoutId id="2147483664" r:id="rId4"/>
    <p:sldLayoutId id="2147483669" r:id="rId5"/>
    <p:sldLayoutId id="2147483670" r:id="rId6"/>
    <p:sldLayoutId id="2147483671" r:id="rId7"/>
    <p:sldLayoutId id="2147483682" r:id="rId8"/>
    <p:sldLayoutId id="2147483683" r:id="rId9"/>
    <p:sldLayoutId id="2147483672" r:id="rId10"/>
    <p:sldLayoutId id="2147483673" r:id="rId11"/>
    <p:sldLayoutId id="2147483674" r:id="rId12"/>
    <p:sldLayoutId id="2147483675" r:id="rId13"/>
    <p:sldLayoutId id="2147483684" r:id="rId14"/>
    <p:sldLayoutId id="2147483685" r:id="rId15"/>
    <p:sldLayoutId id="2147483668" r:id="rId16"/>
    <p:sldLayoutId id="2147483686" r:id="rId17"/>
    <p:sldLayoutId id="2147483687" r:id="rId18"/>
    <p:sldLayoutId id="2147483678" r:id="rId19"/>
    <p:sldLayoutId id="2147483679" r:id="rId20"/>
    <p:sldLayoutId id="2147483689" r:id="rId21"/>
    <p:sldLayoutId id="2147483690" r:id="rId22"/>
    <p:sldLayoutId id="2147483691" r:id="rId23"/>
    <p:sldLayoutId id="2147483692" r:id="rId2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kumimoji="0" lang="fr-FR" sz="1600" b="0" i="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kumimoji="0" lang="fr-FR" sz="1400" b="0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alibri" panose="020F050202020403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0" userDrawn="1">
          <p15:clr>
            <a:srgbClr val="F26B43"/>
          </p15:clr>
        </p15:guide>
        <p15:guide id="2" pos="7419" userDrawn="1">
          <p15:clr>
            <a:srgbClr val="F26B43"/>
          </p15:clr>
        </p15:guide>
        <p15:guide id="3" pos="2495" userDrawn="1">
          <p15:clr>
            <a:srgbClr val="F26B43"/>
          </p15:clr>
        </p15:guide>
        <p15:guide id="4" pos="2722" userDrawn="1">
          <p15:clr>
            <a:srgbClr val="F26B43"/>
          </p15:clr>
        </p15:guide>
        <p15:guide id="5" pos="4957" userDrawn="1">
          <p15:clr>
            <a:srgbClr val="F26B43"/>
          </p15:clr>
        </p15:guide>
        <p15:guide id="6" pos="5184" userDrawn="1">
          <p15:clr>
            <a:srgbClr val="F26B43"/>
          </p15:clr>
        </p15:guide>
        <p15:guide id="7" orient="horz" pos="987" userDrawn="1">
          <p15:clr>
            <a:srgbClr val="F26B43"/>
          </p15:clr>
        </p15:guide>
        <p15:guide id="8" orient="horz" pos="4070" userDrawn="1">
          <p15:clr>
            <a:srgbClr val="F26B43"/>
          </p15:clr>
        </p15:guide>
        <p15:guide id="9" orient="horz" pos="2417" userDrawn="1">
          <p15:clr>
            <a:srgbClr val="F26B43"/>
          </p15:clr>
        </p15:guide>
        <p15:guide id="10" orient="horz" pos="264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3">
            <a:extLst>
              <a:ext uri="{FF2B5EF4-FFF2-40B4-BE49-F238E27FC236}">
                <a16:creationId xmlns:a16="http://schemas.microsoft.com/office/drawing/2014/main" id="{3A736290-4026-42FC-823C-58BCBA7FA886}"/>
              </a:ext>
            </a:extLst>
          </p:cNvPr>
          <p:cNvSpPr txBox="1">
            <a:spLocks/>
          </p:cNvSpPr>
          <p:nvPr userDrawn="1"/>
        </p:nvSpPr>
        <p:spPr>
          <a:xfrm>
            <a:off x="651338" y="3861048"/>
            <a:ext cx="10600863" cy="225908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1200" cap="all" spc="0" normalizeH="0" baseline="0" noProof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UpSlide Table Of Content Master 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0" i="0" u="none" strike="noStrike" kern="1200" cap="all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edit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0" i="0" u="none" strike="noStrike" kern="1200" cap="all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delete</a:t>
            </a:r>
          </a:p>
        </p:txBody>
      </p:sp>
    </p:spTree>
    <p:extLst>
      <p:ext uri="{BB962C8B-B14F-4D97-AF65-F5344CB8AC3E}">
        <p14:creationId xmlns:p14="http://schemas.microsoft.com/office/powerpoint/2010/main" val="64514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7" r:id="rId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215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5pPr>
      <a:lvl6pPr marL="422041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6pPr>
      <a:lvl7pPr marL="844083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7pPr>
      <a:lvl8pPr marL="1266124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8pPr>
      <a:lvl9pPr marL="1688165" algn="l" rtl="0" fontAlgn="base">
        <a:spcBef>
          <a:spcPct val="0"/>
        </a:spcBef>
        <a:spcAft>
          <a:spcPct val="0"/>
        </a:spcAft>
        <a:defRPr sz="2215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292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292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44726" indent="-244726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7"/>
        </a:buBlip>
        <a:defRPr lang="en-US" sz="1292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11784" indent="-167058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292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578842" indent="-16705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292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578842" marR="0" indent="167058" algn="l" defTabSz="8440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12958" marR="0" indent="-167058" algn="l" defTabSz="844083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080016" indent="-167058" algn="l" defTabSz="844083" rtl="0" eaLnBrk="1" latinLnBrk="0" hangingPunct="1">
        <a:spcBef>
          <a:spcPct val="20000"/>
        </a:spcBef>
        <a:buFont typeface="Garamond" pitchFamily="18" charset="0"/>
        <a:buChar char="−"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236816" indent="-156801" algn="l" defTabSz="844083" rtl="0" eaLnBrk="1" latinLnBrk="0" hangingPunct="1">
        <a:spcBef>
          <a:spcPct val="20000"/>
        </a:spcBef>
        <a:buFont typeface="Garamond" pitchFamily="18" charset="0"/>
        <a:buChar char="−"/>
        <a:defRPr lang="en-US" sz="1292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0" userDrawn="1">
          <p15:clr>
            <a:srgbClr val="F26B43"/>
          </p15:clr>
        </p15:guide>
        <p15:guide id="2" pos="7419" userDrawn="1">
          <p15:clr>
            <a:srgbClr val="F26B43"/>
          </p15:clr>
        </p15:guide>
        <p15:guide id="3" pos="2495" userDrawn="1">
          <p15:clr>
            <a:srgbClr val="F26B43"/>
          </p15:clr>
        </p15:guide>
        <p15:guide id="4" pos="2722" userDrawn="1">
          <p15:clr>
            <a:srgbClr val="F26B43"/>
          </p15:clr>
        </p15:guide>
        <p15:guide id="5" pos="4957" userDrawn="1">
          <p15:clr>
            <a:srgbClr val="F26B43"/>
          </p15:clr>
        </p15:guide>
        <p15:guide id="6" pos="5184" userDrawn="1">
          <p15:clr>
            <a:srgbClr val="F26B43"/>
          </p15:clr>
        </p15:guide>
        <p15:guide id="7" orient="horz" pos="990" userDrawn="1">
          <p15:clr>
            <a:srgbClr val="F26B43"/>
          </p15:clr>
        </p15:guide>
        <p15:guide id="8" orient="horz" pos="4070" userDrawn="1">
          <p15:clr>
            <a:srgbClr val="F26B43"/>
          </p15:clr>
        </p15:guide>
        <p15:guide id="9" orient="horz" pos="2417" userDrawn="1">
          <p15:clr>
            <a:srgbClr val="F26B43"/>
          </p15:clr>
        </p15:guide>
        <p15:guide id="10" orient="horz" pos="26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erf-volant, volant, eau, homme&#10;&#10;Description générée automatiquement">
            <a:extLst>
              <a:ext uri="{FF2B5EF4-FFF2-40B4-BE49-F238E27FC236}">
                <a16:creationId xmlns:a16="http://schemas.microsoft.com/office/drawing/2014/main" id="{5F232E95-237A-4A2C-B272-6D9B10F02B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8700" y="1346397"/>
            <a:ext cx="9967110" cy="560649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DA5DADD-A734-40A3-BFE0-7C69159402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2658" y="1324500"/>
            <a:ext cx="9967110" cy="5652661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505B16D3-983F-4781-9DB8-C1A8B7345A98}"/>
              </a:ext>
            </a:extLst>
          </p:cNvPr>
          <p:cNvSpPr txBox="1"/>
          <p:nvPr/>
        </p:nvSpPr>
        <p:spPr>
          <a:xfrm>
            <a:off x="6370857" y="4367653"/>
            <a:ext cx="13886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effectLst/>
                <a:ea typeface="Yu Mincho" panose="02020400000000000000" pitchFamily="18" charset="-128"/>
              </a:rPr>
              <a:t>A renewable fuel for generating heat (hot water or steam) and electricity (CHP) on site</a:t>
            </a:r>
            <a:endParaRPr lang="en-US" sz="80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9D97CD1-71C8-4BE5-B654-FDD8958D1914}"/>
              </a:ext>
            </a:extLst>
          </p:cNvPr>
          <p:cNvSpPr txBox="1"/>
          <p:nvPr/>
        </p:nvSpPr>
        <p:spPr>
          <a:xfrm>
            <a:off x="2042598" y="6094947"/>
            <a:ext cx="2085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effectLst/>
                <a:ea typeface="Yu Mincho" panose="02020400000000000000" pitchFamily="18" charset="-128"/>
              </a:rPr>
              <a:t>The biogas is purified so that it can be fed into the gas grid for industrial</a:t>
            </a:r>
            <a:r>
              <a:rPr lang="en-US" sz="800" b="1">
                <a:ea typeface="Yu Mincho" panose="02020400000000000000" pitchFamily="18" charset="-128"/>
              </a:rPr>
              <a:t>, mobility, </a:t>
            </a:r>
            <a:r>
              <a:rPr lang="en-US" sz="800" b="1">
                <a:effectLst/>
                <a:ea typeface="Yu Mincho" panose="02020400000000000000" pitchFamily="18" charset="-128"/>
              </a:rPr>
              <a:t>and domestic purposes.</a:t>
            </a:r>
            <a:endParaRPr lang="en-US" sz="80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5BB4B53-CDEC-40B5-AA90-3C6DBA132067}"/>
              </a:ext>
            </a:extLst>
          </p:cNvPr>
          <p:cNvSpPr txBox="1"/>
          <p:nvPr/>
        </p:nvSpPr>
        <p:spPr>
          <a:xfrm>
            <a:off x="6407790" y="4098045"/>
            <a:ext cx="1033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rgbClr val="61ABB3"/>
                </a:solidFill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Biogas</a:t>
            </a:r>
            <a:endParaRPr lang="en-US" sz="1400">
              <a:solidFill>
                <a:srgbClr val="61ABB3"/>
              </a:solidFill>
              <a:latin typeface="Arial Black" panose="020B0A04020102020204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3DF37CE-B585-4D4A-9A05-0DBF5D2CC53B}"/>
              </a:ext>
            </a:extLst>
          </p:cNvPr>
          <p:cNvSpPr txBox="1"/>
          <p:nvPr/>
        </p:nvSpPr>
        <p:spPr>
          <a:xfrm>
            <a:off x="3546011" y="3990323"/>
            <a:ext cx="14348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>
                <a:solidFill>
                  <a:schemeClr val="accent4"/>
                </a:solidFill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Digestate</a:t>
            </a:r>
            <a:endParaRPr lang="en-US" sz="1400">
              <a:solidFill>
                <a:schemeClr val="accent4"/>
              </a:solidFill>
              <a:latin typeface="Arial Black" panose="020B0A04020102020204" pitchFamily="34" charset="0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84B5FAD-8CCD-45FC-8202-A77E25CAD45A}"/>
              </a:ext>
            </a:extLst>
          </p:cNvPr>
          <p:cNvSpPr txBox="1"/>
          <p:nvPr/>
        </p:nvSpPr>
        <p:spPr>
          <a:xfrm>
            <a:off x="3422219" y="4190378"/>
            <a:ext cx="1528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>
                <a:ea typeface="Yu Mincho" panose="02020400000000000000" pitchFamily="18" charset="-128"/>
              </a:rPr>
              <a:t>Used as natural fertilizer</a:t>
            </a:r>
            <a:endParaRPr lang="en-US" sz="80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30FA838-8126-411B-AEF0-6936A9C5C592}"/>
              </a:ext>
            </a:extLst>
          </p:cNvPr>
          <p:cNvSpPr txBox="1"/>
          <p:nvPr/>
        </p:nvSpPr>
        <p:spPr>
          <a:xfrm>
            <a:off x="6061600" y="2598003"/>
            <a:ext cx="12195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effectLst/>
                <a:ea typeface="Yu Mincho" panose="02020400000000000000" pitchFamily="18" charset="-128"/>
              </a:rPr>
              <a:t>Organic waste undergoes an anaerobic fermentation process that produces digestate and biogas.</a:t>
            </a:r>
            <a:endParaRPr lang="en-US" sz="80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4D444EFC-E70E-44F4-B4D8-F9685A247DF0}"/>
              </a:ext>
            </a:extLst>
          </p:cNvPr>
          <p:cNvSpPr txBox="1"/>
          <p:nvPr/>
        </p:nvSpPr>
        <p:spPr>
          <a:xfrm>
            <a:off x="4868381" y="1937884"/>
            <a:ext cx="21076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2. Anaerobic fermentation</a:t>
            </a:r>
            <a:endParaRPr lang="en-US" sz="1400" b="1">
              <a:latin typeface="Arial Black" panose="020B0A04020102020204" pitchFamily="34" charset="0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2E17C09-824A-4C3F-BA7A-6A3057275E00}"/>
              </a:ext>
            </a:extLst>
          </p:cNvPr>
          <p:cNvSpPr txBox="1"/>
          <p:nvPr/>
        </p:nvSpPr>
        <p:spPr>
          <a:xfrm>
            <a:off x="2492180" y="2558562"/>
            <a:ext cx="21076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rgbClr val="439D71"/>
                </a:solidFill>
                <a:effectLst/>
                <a:ea typeface="Yu Mincho" panose="02020400000000000000" pitchFamily="18" charset="-128"/>
              </a:rPr>
              <a:t>Organic agricultural </a:t>
            </a:r>
            <a:r>
              <a:rPr lang="en-US" sz="800" b="1" dirty="0">
                <a:effectLst/>
                <a:ea typeface="Yu Mincho" panose="02020400000000000000" pitchFamily="18" charset="-128"/>
              </a:rPr>
              <a:t>waste is collected and transported to the biogas plant</a:t>
            </a:r>
            <a:endParaRPr lang="en-US" sz="800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D1D9A501-A847-4ED6-97E2-487E99DB2E83}"/>
              </a:ext>
            </a:extLst>
          </p:cNvPr>
          <p:cNvSpPr txBox="1"/>
          <p:nvPr/>
        </p:nvSpPr>
        <p:spPr>
          <a:xfrm>
            <a:off x="494263" y="2852659"/>
            <a:ext cx="26562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1. Collection</a:t>
            </a:r>
            <a:endParaRPr lang="en-US" sz="1400" b="1">
              <a:latin typeface="Arial Black" panose="020B0A04020102020204" pitchFamily="34" charset="0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6EE29C48-1CC7-4A48-BBE8-EF4DD5834C85}"/>
              </a:ext>
            </a:extLst>
          </p:cNvPr>
          <p:cNvSpPr txBox="1"/>
          <p:nvPr/>
        </p:nvSpPr>
        <p:spPr>
          <a:xfrm>
            <a:off x="5922212" y="5777824"/>
            <a:ext cx="1536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3. </a:t>
            </a:r>
            <a:r>
              <a:rPr lang="en-US" sz="1400" b="1">
                <a:latin typeface="Arial Black" panose="020B0A04020102020204" pitchFamily="34" charset="0"/>
                <a:ea typeface="Yu Mincho" panose="02020400000000000000" pitchFamily="18" charset="-128"/>
              </a:rPr>
              <a:t>Upgrading</a:t>
            </a:r>
            <a:endParaRPr lang="en-US" sz="1400" b="1">
              <a:latin typeface="Arial Black" panose="020B0A04020102020204" pitchFamily="34" charset="0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D026C7B4-568D-4E85-9A53-C0B7ED544220}"/>
              </a:ext>
            </a:extLst>
          </p:cNvPr>
          <p:cNvSpPr txBox="1"/>
          <p:nvPr/>
        </p:nvSpPr>
        <p:spPr>
          <a:xfrm>
            <a:off x="879656" y="5922629"/>
            <a:ext cx="12011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4</a:t>
            </a:r>
            <a:r>
              <a:rPr lang="en-US" sz="1400" b="1">
                <a:latin typeface="Arial Black" panose="020B0A04020102020204" pitchFamily="34" charset="0"/>
                <a:ea typeface="Yu Mincho" panose="02020400000000000000" pitchFamily="18" charset="-128"/>
              </a:rPr>
              <a:t>. End-use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AA036A4-C1CB-459B-839A-1B2BAA0235A7}"/>
              </a:ext>
            </a:extLst>
          </p:cNvPr>
          <p:cNvSpPr txBox="1"/>
          <p:nvPr/>
        </p:nvSpPr>
        <p:spPr>
          <a:xfrm>
            <a:off x="2823871" y="5203347"/>
            <a:ext cx="1444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rgbClr val="ACCC61"/>
                </a:solidFill>
                <a:effectLst/>
                <a:ea typeface="Yu Mincho" panose="02020400000000000000" pitchFamily="18" charset="-128"/>
              </a:rPr>
              <a:t>1 RGGO = 1 MWh Biomethane injected</a:t>
            </a:r>
            <a:endParaRPr lang="en-US" sz="800">
              <a:solidFill>
                <a:schemeClr val="bg2">
                  <a:lumMod val="50000"/>
                  <a:lumOff val="50000"/>
                </a:schemeClr>
              </a:solidFill>
              <a:effectLst/>
              <a:ea typeface="Yu Mincho" panose="02020400000000000000" pitchFamily="18" charset="-128"/>
            </a:endParaRP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C75ED08C-02D9-4CFB-BF09-FE6D22D8B9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36401" y="5165810"/>
            <a:ext cx="252413" cy="404813"/>
          </a:xfrm>
          <a:prstGeom prst="rect">
            <a:avLst/>
          </a:prstGeom>
        </p:spPr>
      </p:pic>
      <p:sp>
        <p:nvSpPr>
          <p:cNvPr id="22" name="ZoneTexte 12">
            <a:extLst>
              <a:ext uri="{FF2B5EF4-FFF2-40B4-BE49-F238E27FC236}">
                <a16:creationId xmlns:a16="http://schemas.microsoft.com/office/drawing/2014/main" id="{234C601A-755B-4B3D-8750-2DDCAA3EBF55}"/>
              </a:ext>
            </a:extLst>
          </p:cNvPr>
          <p:cNvSpPr txBox="1"/>
          <p:nvPr/>
        </p:nvSpPr>
        <p:spPr>
          <a:xfrm>
            <a:off x="2574767" y="5813878"/>
            <a:ext cx="1444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2"/>
                </a:solidFill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Biomethane</a:t>
            </a:r>
            <a:endParaRPr lang="en-US" sz="1400">
              <a:solidFill>
                <a:schemeClr val="tx2"/>
              </a:solidFill>
              <a:latin typeface="Arial Black" panose="020B0A04020102020204" pitchFamily="34" charset="0"/>
            </a:endParaRPr>
          </a:p>
        </p:txBody>
      </p:sp>
      <p:sp>
        <p:nvSpPr>
          <p:cNvPr id="18" name="Titre 2">
            <a:extLst>
              <a:ext uri="{FF2B5EF4-FFF2-40B4-BE49-F238E27FC236}">
                <a16:creationId xmlns:a16="http://schemas.microsoft.com/office/drawing/2014/main" id="{A5CB0E91-2C9D-5C52-2EE8-AA7445174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spc="-100" dirty="0">
                <a:solidFill>
                  <a:srgbClr val="173C56"/>
                </a:solidFill>
              </a:rPr>
              <a:t>Biomethane, a flexible renewable energy for decarbonization </a:t>
            </a:r>
          </a:p>
        </p:txBody>
      </p:sp>
      <p:sp>
        <p:nvSpPr>
          <p:cNvPr id="7" name="Espace réservé du pied de page 3">
            <a:extLst>
              <a:ext uri="{FF2B5EF4-FFF2-40B4-BE49-F238E27FC236}">
                <a16:creationId xmlns:a16="http://schemas.microsoft.com/office/drawing/2014/main" id="{077E766C-1E48-6449-1874-CA7166252A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RGE - Industrial offer - 2024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768CE1D6-1514-F36F-5179-5B6F7162DD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AC4091-A270-4E27-A4DE-B8A83EF38F73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209965D-6BEF-3B59-2795-930654196883}"/>
              </a:ext>
            </a:extLst>
          </p:cNvPr>
          <p:cNvSpPr/>
          <p:nvPr/>
        </p:nvSpPr>
        <p:spPr>
          <a:xfrm>
            <a:off x="581892" y="1341199"/>
            <a:ext cx="6535179" cy="297342"/>
          </a:xfrm>
          <a:prstGeom prst="rect">
            <a:avLst/>
          </a:prstGeom>
          <a:solidFill>
            <a:srgbClr val="003C56"/>
          </a:solidFill>
          <a:ln>
            <a:solidFill>
              <a:srgbClr val="003C56"/>
            </a:solidFill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cs typeface="+mn-cs"/>
              </a:rPr>
              <a:t>Local and circular production from sustainable feedstock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FC95C12-00B1-410D-953F-8BC337D8198B}"/>
              </a:ext>
            </a:extLst>
          </p:cNvPr>
          <p:cNvSpPr/>
          <p:nvPr/>
        </p:nvSpPr>
        <p:spPr>
          <a:xfrm>
            <a:off x="8188714" y="1716104"/>
            <a:ext cx="3831984" cy="4782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95456D3-6DAE-5D94-1536-122E87935F95}"/>
              </a:ext>
            </a:extLst>
          </p:cNvPr>
          <p:cNvSpPr/>
          <p:nvPr/>
        </p:nvSpPr>
        <p:spPr>
          <a:xfrm>
            <a:off x="8188714" y="1322132"/>
            <a:ext cx="3811910" cy="297342"/>
          </a:xfrm>
          <a:prstGeom prst="rect">
            <a:avLst/>
          </a:prstGeom>
          <a:solidFill>
            <a:srgbClr val="003C56"/>
          </a:solidFill>
          <a:ln>
            <a:solidFill>
              <a:srgbClr val="003C56"/>
            </a:solidFill>
          </a:ln>
        </p:spPr>
        <p:txBody>
          <a:bodyPr wrap="square" anchor="ctr">
            <a:noAutofit/>
          </a:bodyPr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Cond" panose="020B0506020202020204" pitchFamily="34" charset="0"/>
                <a:cs typeface="+mn-cs"/>
              </a:rPr>
              <a:t>Leveraging the transition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Cond" panose="020B050602020202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F155EC4E-6EE4-DD8B-F08A-54194DC17B8A}"/>
              </a:ext>
            </a:extLst>
          </p:cNvPr>
          <p:cNvSpPr txBox="1"/>
          <p:nvPr/>
        </p:nvSpPr>
        <p:spPr>
          <a:xfrm>
            <a:off x="8236573" y="2155525"/>
            <a:ext cx="361675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-80% CO</a:t>
            </a:r>
            <a:r>
              <a:rPr kumimoji="0" lang="en-US" sz="2400" b="1" i="0" u="none" strike="noStrike" kern="1200" cap="all" spc="0" normalizeH="0" baseline="-2500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2</a:t>
            </a: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vs natural g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1" i="0" u="none" strike="noStrike" kern="1200" cap="all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Independenc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 &amp; </a:t>
            </a:r>
            <a:r>
              <a:rPr lang="en-US" sz="2400">
                <a:solidFill>
                  <a:srgbClr val="173C56"/>
                </a:solidFill>
                <a:latin typeface="Arial Nova Cond" panose="020B0506020202020204" pitchFamily="34" charset="0"/>
              </a:rPr>
              <a:t>Energy </a:t>
            </a:r>
            <a:r>
              <a:rPr lang="en-US" sz="2400" b="1" cap="all">
                <a:solidFill>
                  <a:srgbClr val="173C56"/>
                </a:solidFill>
                <a:latin typeface="Arial Nova Cond" panose="020B0506020202020204" pitchFamily="34" charset="0"/>
              </a:rPr>
              <a:t>security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173C56"/>
              </a:solidFill>
              <a:effectLst/>
              <a:uLnTx/>
              <a:uFillTx/>
              <a:latin typeface="Arial Nova Cond" panose="020B0506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Local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EMPLO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Sustainable </a:t>
            </a: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Agricultur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  &amp; treatment of </a:t>
            </a:r>
            <a:r>
              <a:rPr kumimoji="0" lang="en-US" sz="2400" b="1" i="0" u="none" strike="noStrike" kern="1200" cap="all" spc="0" normalizeH="0" baseline="0" noProof="0">
                <a:ln>
                  <a:noFill/>
                </a:ln>
                <a:solidFill>
                  <a:srgbClr val="173C56"/>
                </a:solidFill>
                <a:effectLst/>
                <a:uLnTx/>
                <a:uFillTx/>
                <a:latin typeface="Arial Nova Cond" panose="020B0506020202020204" pitchFamily="34" charset="0"/>
              </a:rPr>
              <a:t>Waste</a:t>
            </a:r>
          </a:p>
        </p:txBody>
      </p:sp>
      <p:pic>
        <p:nvPicPr>
          <p:cNvPr id="2" name="Picture 2" descr="Co2 ">
            <a:extLst>
              <a:ext uri="{FF2B5EF4-FFF2-40B4-BE49-F238E27FC236}">
                <a16:creationId xmlns:a16="http://schemas.microsoft.com/office/drawing/2014/main" id="{F066D491-CD9A-FA6B-171B-BD1AD71097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847" y="5849574"/>
            <a:ext cx="380832" cy="380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eur : en arc 5">
            <a:extLst>
              <a:ext uri="{FF2B5EF4-FFF2-40B4-BE49-F238E27FC236}">
                <a16:creationId xmlns:a16="http://schemas.microsoft.com/office/drawing/2014/main" id="{B4CDD32B-4AE0-8475-8204-4D6A6A33C5D8}"/>
              </a:ext>
            </a:extLst>
          </p:cNvPr>
          <p:cNvCxnSpPr>
            <a:cxnSpLocks/>
            <a:endCxn id="2" idx="1"/>
          </p:cNvCxnSpPr>
          <p:nvPr/>
        </p:nvCxnSpPr>
        <p:spPr>
          <a:xfrm rot="16200000" flipH="1">
            <a:off x="4336047" y="5655190"/>
            <a:ext cx="481868" cy="287732"/>
          </a:xfrm>
          <a:prstGeom prst="curvedConnector2">
            <a:avLst/>
          </a:prstGeom>
          <a:ln w="19050">
            <a:prstDash val="dash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ZoneTexte 12">
            <a:extLst>
              <a:ext uri="{FF2B5EF4-FFF2-40B4-BE49-F238E27FC236}">
                <a16:creationId xmlns:a16="http://schemas.microsoft.com/office/drawing/2014/main" id="{DAFF8040-413D-5CD8-9E62-72A5B7DAEF78}"/>
              </a:ext>
            </a:extLst>
          </p:cNvPr>
          <p:cNvSpPr txBox="1"/>
          <p:nvPr/>
        </p:nvSpPr>
        <p:spPr>
          <a:xfrm>
            <a:off x="4526916" y="6208151"/>
            <a:ext cx="13340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schemeClr val="accent6"/>
                </a:solidFill>
                <a:effectLst/>
                <a:latin typeface="Arial Black" panose="020B0A04020102020204" pitchFamily="34" charset="0"/>
                <a:ea typeface="Yu Mincho" panose="02020400000000000000" pitchFamily="18" charset="-128"/>
              </a:rPr>
              <a:t>Biogeni</a:t>
            </a:r>
            <a:r>
              <a:rPr lang="en-US" sz="1100">
                <a:solidFill>
                  <a:schemeClr val="accent6"/>
                </a:solidFill>
                <a:latin typeface="Arial Black" panose="020B0A04020102020204" pitchFamily="34" charset="0"/>
                <a:ea typeface="Yu Mincho" panose="02020400000000000000" pitchFamily="18" charset="-128"/>
              </a:rPr>
              <a:t>c CO2</a:t>
            </a:r>
            <a:endParaRPr lang="en-US" sz="110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418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UMNSNUMBER" val="3"/>
  <p:tag name="COLUMNSGUTTER" val="10"/>
  <p:tag name="ROWSNUMBER" val="2"/>
  <p:tag name="ROWSGUTTER" val="10"/>
  <p:tag name="UNIQUEMARGIN" val="False"/>
  <p:tag name="LEFTMARGIN" val="11,5"/>
  <p:tag name="BOTTOMMARGIN" val="11"/>
  <p:tag name="RIGHTMARGIN" val="11,5"/>
  <p:tag name="MARGINSIZEUNIT" val="mm"/>
  <p:tag name="UPSLIDETOCMASTERID" val="ENGIE10 30 2019"/>
  <p:tag name="UPSLIDETOCMASTERNAME" val="ENGIE"/>
  <p:tag name="UPSLIDETOCMASTERLASTEDITIONDATE" val="637752448538036839"/>
  <p:tag name="TOPMARGIN" val="43,7"/>
  <p:tag name="UPSLIDETOCALGOID" val="Standard"/>
  <p:tag name="TEMPLATESHORTNAMETAG" val="Engie - New"/>
  <p:tag name="TEMPLATEFULLNAMETAG" val="Engie - New"/>
  <p:tag name="UPSLIDE" val="GDF01148_Engie - New_05-13-2022"/>
  <p:tag name="FOOTERSCRIPT" val="&lt;%Département%&gt; - &lt;%Titre%&gt; - &lt;%Date%&gt;"/>
  <p:tag name="UPSLIDEVERSION" val="6.8.7.0"/>
  <p:tag name="UPSLIDEPRINTFACINGPAGESDESIGN" val="Engie Consulting"/>
  <p:tag name="UPSLIDEPRINTFACINGPAGESLAYOUT" val="Titre"/>
  <p:tag name="UPSLIDEFOOTNOTESHAPE" val="{&#10;  &quot;Data&quot;: &quot;UEsDBBQABgAIAAAAIQC75UiUBQEAAB4CAAATAAAAW0NvbnRlbnRfVHlwZXNdLnhtbKSRvU7DMBSFdyTewfKKEqcMCKEmHfgZgaE8wMW+SSwc27JvS/v23KTJgkoXFsu+P+c7Ol5vDoMTe0zZBl/LVVlJgV4HY31Xy4/tS3EvRSbwBlzwWMsjZrlprq/W22PELHjb51r2RPFBqax7HCCXIaLnThvSAMTP1KkI+gs6VLdVdad08ISeCho1ZLN+whZ2jsTzgcsnJwldluLxNDiyagkxOquB2Knae/OLUsyEkjenmdzbmG/YhlRnCWPnb8C898bRJGtQvEOiVxjYhtLOxs8AySiT4JuDystlVV4WPeM6tK3VaILeDZxIOSsuti/jidNGNZ3/J08yC1dNv9v8AAAA//8DAFBLAwQUAAYACAAAACEArTA/8cEAAAAyAQAACwAAAF9yZWxzLy5yZWxzhI/NCsIwEITvgu8Q9m7TehCRpr2I4FX0AdZk2wbbJGTj39ubi6AgeJtl2G9m6vYxjeJGka13CqqiBEFOe2Ndr+B03C3WIDihMzh6RwqexNA281l9oBFTfuLBBhaZ4ljBkFLYSMl6oAm58IFcdjofJ0z5jL0MqC/Yk1yW5UrGTwY0X0yxNwri3lQgjs+Qk/+zfddZTVuvrxO59CNCmoj3vCwjMfaUFOjRhrPHaN4Wv0VV5OYgm1p+LW1eAAAA//8DAFBLAwQUAAYACAAAACEAIkWSfqADAACkDwAAHwAAAGNsaXBib2FyZC9kcmF3aW5ncy9kcmF3aW5nMS54bWzsl1+P2jgQwN9P6new/FplIX8ILGq2KmFTVVr1VkvvA3gdA9E6NmcbCq3uu9+M4zSU6u6k62PhAZx4PDP+zXgYv3l7bCU5CGMbrQoa34wpEYrrulGbgv7xqYpmlFjHVM2kVqKgJ2Hp27tXv71h841hu23DCWhQds4KunVuNx+NLN+KltkbvRMK5tbatMzBo9mMasM+g+ZWjpLxOB+1rFH0blC1ZI6RvWn+hyqp+YuoS6YOzIJKyefnb4KPkv+8ZjZXh/dmt9o9GvScfzw8GtLUBQVyirWAiI7CRBCDx9HFqs2g4Lg2Lcrr9ZocvZYTfnsd4ugIh5dxnOZpmkwo4TCZjeGTBSvb37t1WZylKcQK5vNxnsymQQXf3v+HEvCt8wEGZ37ZHXqlDj9uFNzoNvpRO2HJglmykk0tfCTB5QfrcCk672P5taqSxeS+yqIKRlE2XmTR4j67jaoknd0n06pM0vwvXB3nc24Ec5CLH+o+r+L8h6C1DTfa6rW74bodAbmGiz63ILPirMssH5avy3KS55NsGZXjZRllaVZFi+zdOJoscxAdl+WkBOtdkMBnH6x+F4DEBxj3AwNkQdxxoTEmYclAyIaUuIjoP0UG+fxbcL/Fhc13xrr3QrcEBwU1gjsPmx2Aded5L+KDpqtGSp9BUn33AnTiG/jpnXXHlQ807qo+ofAz/MI2oSaAqa02Xyj5DCe9oPbPPTOCEvlBWZ+orh+YfvDcD4yTpZZeiikOWgr67F1W+t3e6XUT3O6MoVlp3cqdpMBxLdaP3fGC0RM4IxmWo7WJqqeAfRCRBxljXFpmHjqDcgOlTFICMp/Y8+pLQW/jDE4NJeCWFxHsQS3MC0YRdLtGhUcQ2YIpKFGPe8Vh/7F3OnhhQVM8Qz0vwmC1hCLm562G/Efm6Lwvf6KUgJCBNXfsM+U7KW+VuNNOrBmHovG6VZF03aEW7GJCsG6C24sJbgccwMlHNvDwTA8yGdBkkyk6TNgvzwehBD7pwKdPkisfhBL4ZAOfOJ3G+TWB5nDAkEoANDkDNEtmvjxcMwipBED5AChJZpBA1xIEGYRUAqDpGaBpll5rNDQDB4lUAqDZAAjp+H/y6xFDKgHQ7RmgfDK9FmmfQUil64jOWkvf7CKuPoF8m+xBmotGk2C/d4vlqm6MG25l7s5ffLCL7m4LnRXQjG++9dF7K1a7J2jVuwa9a7R95w2CF/dTvzTcp/ESfP589zcAAAD//wMAUEsDBBQABgAIAAAAIQBzM0pPIgQAADUPAAAaAAAAY2xpcGJvYXJkL3RoZW1lL3RoZW1lMS54bWzMV8tu2zgU3ReYfyC4n1qyLck2ohSta2MWUxRoOpg1LVGPCfWAyDTN3/fyJZG2Mnkgi2YRUNeHl+c+dK549eFnw9APOvC6a1Mcvg8wom3W5XVbpvif78c/NxhxQdqcsK6lKX6gHH+4/uPdFdllrO5PHRny7xVtKAJHLd+RFFdC9LvFgmdgJvx919MWfiu6oSECHodykQ/kHg5o2GIZBPGiIXWLr8GjkI4ODP61gktDxoYb6YailjRw+qEta4qWwXKp8PltKFF8KE97NqAfhKU4CFb7KMaL66sF2RkAExr3wEcYnJ939xgxwgUYU3xUf2af2ZDfLmf8J4ft5F8BmLjEHZJDfLA4AyBZBpHNcf60P+7N2Q5ILy99ezE6IL1czXDehMlnz78Cafz6An8IN1G09vAKpPHRBf643m/ixMMrkMbHF/g4+QjJ8fAKVLG6vb1Ae9GOkKJjfz0Cdwo0oaAbxm6SRxRdK2Z6a9+1/I4J6E4sUQ35rxuOAJUPjIAdiYeeFiSDbvw41IShT4xktzIWsqPE+VWbMn5mAh6e06ZunzjhZb4nd3DSFKQKufEj/loUdUZVnEXN2I14YPRvrkLlHavzIxjlPvUm0/HV6StYmuJ5uHIgag8aOvFvLaqbivSQplCdUHLjuuSo7zi8qMo861sl+6750uX6nQ7DAP50HjgRkz2IRjuURmh0nBgjJGB0r+SgVKJiCci9LyHhHOaTWM2QSKzxCRIqsjdhsZ1hsZHubamUkELpxlQAtbEq8CohIjU/WsMW2IR4RhjNZZ20ltrqyuLY9ZtU+rFkMrcDApgUpgOmSm8l10fDk9HpVntGpT0STrv5JFRm1KvOK5JT053S+hwaL631diqpR0+mwuTCoZFs/o/Fa2sN+861gbWuUrAW3ac4XkXQMhnpU1yATMKy6aF3OMgoIqyET4tMDPqFf42y9AMXnwmvdMKV6Gg1aGpBB8TqJsUy/LEMrFUaoriFSxCE35bcFmTldyMHRfeLTIuCZsItu2ORmdaPoPBaK2Z/VdtfD5Y7uzso902V36MTuxu+EWixKAllAvOaCxg1Opt5DR90o5BN/XcmV0Z2/a9H1UTyLML6ipiJ4oq5hisRHemopzEHzpOJGRLqpMQMwlMpB6ybVG+ajqNLc3h06j69SUbjiOY0Mz1VkVNzXsW8E95U+h1WNsUws90Jr6X7XHK3VuugUWenBCR8zN847140EBxq02EeNcn4UoalZhurT80G+AS15wwJR/Vj6/Ysb+OMmD0OjK+a/LDvvGvBVNjvSpXpuUvcF9KjUxmmGC5WGImfsIKrGQbbUtqW0gYruG/BuNCXpBSbhbXA79oyYlbWsrKYtbWsrSWylshaYmuJMVK3CbixyosERvayADPMXC7Mt4V/073+BQAA//8DAFBLAwQUAAYACAAAACEAnGZGQbsAAAAkAQAAKgAAAGNsaXBib2FyZC9kcmF3aW5ncy9fcmVscy9kcmF3aW5nMS54bWwucmVsc4SPzQrCMBCE74LvEPZu0noQkSa9iNCr1AcIyTYtNj8kUezbG+hFQfCyMLPsN7NN+7IzeWJMk3ccaloBQae8npzhcOsvuyOQlKXTcvYOOSyYoBXbTXPFWeZylMYpJFIoLnEYcw4nxpIa0cpEfUBXNoOPVuYio2FBqrs0yPZVdWDxkwHii0k6zSF2ugbSL6Ek/2f7YZgUnr16WHT5RwTLpRcWoIwGMwdKV2edNS1dgYmGff0m3gAAAP//AwBQSwECLQAUAAYACAAAACEAu+VIlAUBAAAeAgAAEwAAAAAAAAAAAAAAAAAAAAAAW0NvbnRlbnRfVHlwZXNdLnhtbFBLAQItABQABgAIAAAAIQCtMD/xwQAAADIBAAALAAAAAAAAAAAAAAAAADYBAABfcmVscy8ucmVsc1BLAQItABQABgAIAAAAIQAiRZJ+oAMAAKQPAAAfAAAAAAAAAAAAAAAAACACAABjbGlwYm9hcmQvZHJhd2luZ3MvZHJhd2luZzEueG1sUEsBAi0AFAAGAAgAAAAhAHMzSk8iBAAANQ8AABoAAAAAAAAAAAAAAAAA/QUAAGNsaXBib2FyZC90aGVtZS90aGVtZTEueG1sUEsBAi0AFAAGAAgAAAAhAJxmRkG7AAAAJAEAACoAAAAAAAAAAAAAAAAAVwoAAGNsaXBib2FyZC9kcmF3aW5ncy9fcmVscy9kcmF3aW5nMS54bWwucmVsc1BLBQYAAAAABQAFAGcBAABaCwAAAAA=&quot;,&#10;  &quot;Left&quot;: 32.62504,&#10;  &quot;Top&quot;: 477.391327&#10;}"/>
  <p:tag name="UPSLIDEFOOTNOTEPREVIEW" val="{&#10;  &quot;Data&quot;: &quot;iVBORw0KGgoAAAANSUhEUgAABCAAAABPCAYAAAA6AbT5AAAABGdBTUEAALGPC/xhBQAAAAlwSFlzAAAXEQAAFxEByibzPwAADGxJREFUeF7t3T+IHFl+B/AKHAgHZhODLjCsswNfILP4LE1Xm8aJdYE53UpVPcnB4GgTw4ENViiw8SY+BE42OgQOPIYLBpzsgYM1ONjERrBgFi4RdmBlFhiDcCTXq37V9Weququ6Szczms8HCtSv6tv170nq36vq6uQgq+xusly/SNL8PDnJ7sXW8er8RbJY34+t48lfcf7RR8ky/0Je/uh8erqKrePJz5F/Lp9/6fgde/yyh7F1PPkrzp/dSdL15/LyR+eX+aPYOp78DPn8mbz8cfn1V0UdeBpbxzs2f7RN8fouTi9j63jN/DJ/FVvHk7/ifPnhR34zvS7/Qk4hLy9/c/Ob//zlN9Nb+RuWX6x/It/MZ3fjnHHk5eVvbn6Znclv8++S1enHcc44R+fXp+V7TP13eyuMvNQbcMgHmGb+jfyNy1/Ib/PFPwCPPopzxpGXl79G+an/gZd3n8hXk/xNyzcH4OQfPP5unDOOvLz8zc2n2dNWfupd/B9afupdzMfk2+fuIrZOFG7bDFeOQ/EWRqOmkpe/zfnwF1Y+5N8W07PYOp78cfnwH3a6/lY+5Nefx9bx5OXlb28+XPGTD/lwB+kXsXU8+SPz2d0i+7X8HPn1i9g6nvzh+fCNiZDbTG9jKwAAAMCM2ndPnMdWAAAAgJmFO3gPefgtAAAAAAAAAAAAAAAAAAAAAAAAAAAAAAAAAAAAAFx3q+xusly/SNL8PDnJ7sVWAAAAgBml+UUxvYvTy9gKAAAAMKMw6FAPQLyOrQAAAAAzSk9XyTJ/laT5m2SRfxZbAQAAAAAAAACuyHJ9miyzs2R1die2AAAAAMxomT9vPMrhIrYCAAAAzKj9LMm3sRUAAABgRmn2tDEAcR5bAQAAAGa2WN9P0uxhfAUAAAAAAAAAAAAAAAAAAAAAAAAAAAAAAAAAAAAAH45VdjdZrl8kaX6enGT3YisAAADAjNL8opjexellbAUAAACYURh0qAcgXsdWAAAAgBmlp6tkmb9K0vxNssg/i60AAAAAAAAAAFdkuT5NltlZsjq7E1sAAAAAZrTMnzce5XARWwEAAABm1H6W5NvYCgAAADCjNHvaGIA4j60AAAAAM1us7ydp9jC+AgAAAAAAAAAAAAAAAAAAAAAAAAAAAAAAAAAAAIAPxyq7myzXL5I0P09OsnuxFQAAAGBGaX5RTO/i9DK2AgAAAMwoDDrUAxCvYysAAADAjNLTVbLMXyVp/iZZ5J/FVgAAAID37OPVnSTNfpk8yL4fW9rC/EX2H8nJk9PYUkuznyZp/iy+2i3N0sbdF0PT/ya/m/1mkqx+LVnk/1i8/rfkkz/+9fgOx/vk0+/EP+222eevttvVt+9zGrtdx5p7PX195/d++FvFMfvF9tgtsv8rjt/PLp3HKX2ncpL9Yeu9yyn75+TB40dxiQ/H97PfLvbvv4vpIrZcpp8CAAC/Csv1abLMzpLV2Z3YcqBNIdhf5DQLnL7ipiySsteDgxdNVz0AcZL9uHi//9y8/x6bY7LZplBAj9m/Q03ZrmO8j/V0+05dNHfPazFl37TWPaXvBIv8r/vfN05hkONDMmYAQj8FAADet2X+fFt37KpP9gqDAkOFy+Zqc11MDl1d3TWA0VQNQLzvq7RDNtsZBzh22Q5+jFh2BqO360hzr+dS39ket+IcF0VkJdwRUbV373gY23eqYrxcX+duh5Mffa9oHx4ku6n2DkDopwAAwK9A+1mSb2PrAXoLwKKwSbOfb948+6Yocv68/PPwAMTwIEbTzRuAmPfrH0NuamHX7TvVV3X6CuaheaP7Tv4nxTTcd8bcLXDTjB+A0E8BAID3J82eFp/RqwGI89g6UVXgdIu66nv9af4XZWGzb+BgV+HZNGkAoltcbV+HnxHdFKOhSFk8/p04L9yeX9+tEZ4LUM5rvVd1wMLUv63VNg4tu7ma/7dFW3Ndf1evq2HvskPb1dj35tX9UKinT/5sk204eD1Rnd/MK9cTz/2Qob4zZKiPvJe+0zBl38plG89TSPN/Ouy8Bgecw+azLcLXSUJus47Lx0Y/HddPAQCAeSzW94vP7w/jqwOEQj58iJ/jzoUxVy3nGIBYZN8WbVUBs5m3WXezaKkLlHLf9hQ2TbsKu/qKdHd+mNr7PmrZoe3qbW9O9dcYjlrP3nz/MQrG9p1KfVwvP3Ry1BXv5j4URWv4Gsa+wnPKvg0ve8B5DWY4h3Vfv3we9NPLywAAANfY2FudRw1AjChI+4um5tS4lXxbjHTvgAjL1YVNfQW9kS08ePxHl5YdfWt3d91RNdDR+kWHctnq4Yh1ITR92cZ2tfb1Ypuv7/yYaT2FKp9mf9WbHzrnfe81pC4e28ezMnowo9yu+gr4dhr4FYzR+9Y63rG/FG0nT/60vVxh9PFuveeOc9hcrrGd7eev1OewZZvVT0cNagIAAFdkWzz0F4VNowYgJiwzPDW2pbt929ftwqQagAgFbHk795MfJPcffRzntvUVNr16js3QQEeps21Tlg2GC7v+fa3e99j11AMDPQXuNr9rXs96O6p17BpgGNN3Wor1n3z6B8lJ/jdF9l/LbLf/TNm3+jj2LNsw6Xh3X0fd99i1nfXfl4Ht6jkPU7bx2P4zdh+PXc/B/RQAALgmth/ce4qCjrkHIEYVmt3t27G99RXXeioHJDrfDz9mAKIuguo7KpqaV/GnLFu+HizsOvvaaT92PXW+feza0+XjvetcNG3PS3iQac+zByqTByC6iu2p7laoCtEp+7bvOFYmHe8ZzmFduI8fgJiyjZP2J7y+af0UAAC4JoaKhx7XfQAiePD4u8X8ntvzG8sbgDiksOs5XnvORT0/5AeWadjXL3ZeQa9s17nZ3in7tu84ViYd7xnOoQGII/spAABwTQwVDz1uwgBE0yeffqf8Dn14Kv/OAmpIz7qm3EZ+7C3ng/vaaT92PfsKw0FD2xds54WicNz7jus7P22dy0s6+ztl3/YW+tGk4z10jDrt9XZeXnd1XKYMQOinAADAtXSpoBgwqkDsXMXs8z4GIJoFXPPZD5uf7Au/mtEegNi3jaWBdW2OV9j++R/u19qugfX3tc+xntAWfjaxua7NQzz7C+Ngs97LfafenhHnOJrSd8pt7Xy1pjrXrf2dsm/b41psd/bjTVuhfhBk+xhu9m/P8d6+5/hzeBMeQtnXf65zPwUAAK7QKrubLNcvig/s58X0rP1Bf8DYK9SXCpGO9zEAEVTFTf/UKGyKQrev/ZKBddWDHc3330zd4zhl2UvbNbSvPe1HracwJd/UN2iw673qaWjQ4vJ57Wpvf8+UfdN67znO15R9bC07xzl88vexfaCv6qfl1M0DAADXRPhAX394//diCh/qd9/avG/goL7F+rj3aekWMUPFTlDO+6yYVxcoi+zb1tXsYLOdX8Vlet6nsmNdm6vt9bMmQvETrur2/fLG2GW72/X7P/iN/vUPbNeh66neo5svp/CLIjseHFkXhPU5r87v7qk9ADG271TCsz7S/BfF1D7XaeeuiMqUfSuX3R6fsFz/wzNHHe+hPjTyHIb3O/nR94o/h/2cNgARjNrGaOyyN7GfAgAAVyjNXzY+wL8uPsCPu/q8Syg8QzHhKuTtou8AAAAwKD1dJcv8VVE4vknKuwZmKAA3hejAVVo+WPoOAAAAey2zsyRdf5Us1j85qAis8if5Xxb515OL0Ob6DzFXPs2expZp5Kv8vxw0gBDyi/XXRf5/DhrAWK5Pj9v+DyGfh+N3i/d/jnz+LFmd3Ymt48kfmc8fFdkv5eWPy68/l7+B+TR7KB/+/XT8jsov8+fJ6tFHsXU8+SPzp6sifyEvPz1/kt0rwvX3qB88yYoO+cvRhWArn4Xvcv9DnDNOd/3hP7Mp5K9PflGc/zT7r0mDCNt8yB65fvnp+dXpx/LNfHYW54wjf2Q+u1vk3srH/NRBdHl5+VucLwp2+TofBjGnkJ8j/1o+5kMRPsVtzxeBMHq9CYcpfBVjCnl5+WuUn/gf+GJ9X76Rn3oXhfxx+e4A2q3Prz+Pc8aRl5f/cPKTC4ByAEO+zn8R54wjP0e+HsC47fnwi5JT3PZ8Kdx+swl/WY5oTPXh5L8+7BYU+SvNb35KVr7MF/8gTCUvL3+D88WHJvkiv/62vCNnKvmrzYeivfwQK1/+stdU8vLyNzifP7vVeQAAAAAAAAAAAAAAAAAAAAAAAAAAAAAAAAAAAAAAAAAAAAAAAAAAAADg2kmS/wcCmCBmfym+EwAAAABJRU5ErkJggg==&quot;&#10;}"/>
  <p:tag name="UPSLIDETOCOPTIONS" val="&lt;?xml version=&quot;1.0&quot; encoding=&quot;utf-16&quot;?&gt;&#10;&lt;TocContentOptions xmlns:xsi=&quot;http://www.w3.org/2001/XMLSchema-instance&quot; xmlns:xsd=&quot;http://www.w3.org/2001/XMLSchema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false&lt;/ContainsPrentLessSubsections&gt;&#10;    &lt;ContainsAppendix&gt;true&lt;/ContainsAppendix&gt;&#10;    &lt;ContainsUnNumberedSections&gt;true&lt;/ContainsUnNumberedSections&gt;&#10;    &lt;SlideTitle&gt;Agenda&lt;/SlideTitle&gt;&#10;  &lt;/TocSlidesOptions&gt;&#10;  &lt;SectionSlideOptions&gt;&#10;    &lt;ContainsOwnSubSection&gt;true&lt;/ContainsOwnSubSection&gt;&#10;    &lt;ContainsOwnSlide&gt;true&lt;/ContainsOwnSlide&gt;&#10;    &lt;ContainsOtherSections&gt;false&lt;/ContainsOtherSections&gt;&#10;    &lt;ContainsOthersSubsection&gt;false&lt;/ContainsOthersSubsection&gt;&#10;    &lt;containsAppendix&gt;true&lt;/containsAppendix&gt;&#10;    &lt;containsUnnumberedSections&gt;true&lt;/containsUnnumberedSections&gt;&#10;    &lt;SlideTitle /&gt;&#10;  &lt;/SectionSlideOptions&gt;&#10;  &lt;SubSectionSlideOptions&gt;&#10;    &lt;ContainsOtherSubsections&gt;false&lt;/ContainsOtherSubsections&gt;&#10;    &lt;ContainsOwnSlides&gt;true&lt;/ContainsOwnSlides&gt;&#10;    &lt;ContainsParentSection&gt;false&lt;/ContainsParentSection&gt;&#10;    &lt;ContainsOtherSections&gt;false&lt;/ContainsOtherSections&gt;&#10;    &lt;containsAppendix&gt;true&lt;/containsAppendix&gt;&#10;    &lt;containsUnnumberedSections&gt;true&lt;/containsUnnumberedSections&gt;&#10;    &lt;SlideTitle /&gt;&#10;  &lt;/SubSectionSlideOptions&gt;&#10;  &lt;UsedSlideLayouts&gt;&#10;    &lt;TocSlidesLayout&gt;&#10;      &lt;DesignName&gt;Engie Consulting&lt;/DesignName&gt;&#10;      &lt;LayoutName&gt;Sommaire&lt;/LayoutName&gt;&#10;    &lt;/TocSlidesLayout&gt;&#10;    &lt;SectionLayout&gt;&#10;      &lt;DesignName&gt;Engie Consulting&lt;/DesignName&gt;&#10;      &lt;LayoutName&gt;Intercalaire de section&lt;/LayoutName&gt;&#10;    &lt;/SectionLayout&gt;&#10;    &lt;SubsectionLayout&gt;&#10;      &lt;DesignName&gt;Engie Consulting&lt;/DesignName&gt;&#10;      &lt;LayoutName&gt;Intercalaire de sous-section&lt;/LayoutName&gt;&#10;    &lt;/SubsectionLayout&gt;&#10;    &lt;AppendixLayout&gt;&#10;      &lt;DesignName /&gt;&#10;      &lt;LayoutName /&gt;&#10;    &lt;/AppendixLayout&gt;&#10;    &lt;TitleSliLayout&gt;&#10;      &lt;DesignName&gt;Engie Consulting&lt;/DesignName&gt;&#10;      &lt;LayoutName&gt;Titre&lt;/LayoutName&gt;&#10;    &lt;/TitleSliLayout&gt;&#10;  &lt;/UsedSlideLayouts&gt;&#10;  &lt;ActiveReminders&gt;&#10;    &lt;MigrationVersion&gt;6.8.26.1&lt;/MigrationVersion&gt;&#10;  &lt;/ActiveReminders&gt;&#10;  &lt;HardRefreshRequired&gt;false&lt;/HardRefreshRequired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tru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true&lt;/DisplayTOCOnTwocolumns&gt;&#10;      &lt;Scripts&gt;&#10;        &lt;BeforeSubSecTitle /&gt;&#10;        &lt;BeforeSlideIndex /&gt;&#10;        &lt;AfterSecNum /&gt;&#10;        &lt;BeforeSecNum&gt;0&lt;/BeforeSecNum&gt;&#10;        &lt;ZeroBeforeSecNum&gt;false&lt;/ZeroBeforeSecNum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true&lt;/UseManualSpacing&gt;&#10;        &lt;ManualSpacing&gt;&#10;          &lt;SpaceBeforeSections&gt;5&lt;/SpaceBeforeSections&gt;&#10;          &lt;SpaceBeforeSubSections&gt;1&lt;/SpaceBeforeSubSections&gt;&#10;          &lt;SpaceBeforeSlides&gt;0&lt;/SpaceBeforeSlides&gt;&#10;        &lt;/ManualSpacing&gt;&#10;        &lt;ManualSpacingSections&gt;&#10;          &lt;SpaceBeforeSections&gt;0&lt;/SpaceBeforeSections&gt;&#10;          &lt;SpaceBeforeSubSections&gt;1&lt;/SpaceBeforeSubSections&gt;&#10;          &lt;SpaceBeforeSlides&gt;0&lt;/SpaceBeforeSlides&gt;&#10;        &lt;/ManualSpacingSections&gt;&#10;        &lt;ManualSpacingSubSections&gt;&#10;          &lt;SpaceBeforeSections&gt;0&lt;/SpaceBeforeSections&gt;&#10;          &lt;SpaceBeforeSubSections&gt;0&lt;/SpaceBeforeSubSections&gt;&#10;          &lt;SpaceBeforeSlides&gt;0&lt;/SpaceBeforeSlides&gt;&#10;        &lt;/ManualSpacingSubSections&gt;&#10;        &lt;UseSpecificSpacingForSecDivider&gt;true&lt;/UseSpecificSpacingForSecDivider&gt;&#10;        &lt;UseSpecificSpacingForSubSecDivider&gt;true&lt;/UseSpecificSpacingForSubSecDivider&gt;&#10;      &lt;/ManVerticalSpacing&gt;&#10;    &lt;/CustomBaseAlgoOptions&gt;&#10;  &lt;/CustomAlgoOptions&gt;&#10;  &lt;UserPresentationOptions&gt;&#10;    &lt;SubSectionsHaveSlide xsi:nil=&quot;true&quot; /&gt;&#10;    &lt;SectionDividersContainOwnSubSections&gt;false&lt;/SectionDividersContainOwnSubSections&gt;&#10;    &lt;SectionDividersContainOwnSlideTitles&gt;false&lt;/SectionDividersContainOwnSlideTitles&gt;&#10;    &lt;SubSectionDividersContainOwnSlideTitles xsi:nil=&quot;true&quot; /&gt;&#10;    &lt;TOCSlidesContainSubsectionTitles xsi:nil=&quot;true&quot; /&gt;&#10;    &lt;TOCSlidesContainSlideTitles xsi:nil=&quot;true&quot; /&gt;&#10;    &lt;DisplayRemindersOnSlides&gt;true&lt;/DisplayRemindersOnSlides&gt;&#10;    &lt;SectionsHaveSlide&gt;true&lt;/SectionsHaveSlide&gt;&#10;    &lt;DoNotCountHiddenSlidesInPagination&gt;false&lt;/DoNotCountHiddenSlidesInPagination&gt;&#10;  &lt;/UserPresentationOptions&gt;&#10;  &lt;XmlSubSectionsHaveSlide&gt;true&lt;/XmlSubSectionsHaveSlide&gt;&#10;  &lt;AllowDuplicateTitleSlides&gt;tru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ArabicAndCapitalLetters&lt;/NumType&gt;&#10;  &lt;/NumberingOptionForAppendix&gt;&#10;&lt;/TocContentOption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TITLE"/>
  <p:tag name="TOCTEMPLATESHAPENAME" val="Titre de section"/>
  <p:tag name="TOCTEMPLATESHAPEDESCRIPTION" val="Définit le format de la forme contenant les titres de secti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s (optional);Special backgound grid for design purposes only"/>
  <p:tag name="MIO_USER_INPUT_OPTIONAL" val=" "/>
  <p:tag name="MIO_USER_INPUT_FIXED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TITLE"/>
  <p:tag name="TOCTEMPLATESHAPENAME" val="Titre de section"/>
  <p:tag name="TOCTEMPLATESHAPEDESCRIPTION" val="Définit le format de la forme contenant les titres de secti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Additional Guidelines;"/>
  <p:tag name="MIO_USER_INPUT_OPTIONAL" val=" "/>
  <p:tag name="MIO_USER_INPUT_FIXED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TITLE"/>
  <p:tag name="TOCTEMPLATESHAPENAME" val="Titre des diapositives"/>
  <p:tag name="TOCTEMPLATESHAPEDESCRIPTION" val="Définit le format de la forme contenant les titres de slid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INDEX"/>
  <p:tag name="TOCTEMPLATESHAPENAME" val="Numéro de slide"/>
  <p:tag name="TOCTEMPLATESHAPEDESCRIPTION" val="Définit le format de la forme contenant le numéro de diapositiv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IDETOC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UM"/>
  <p:tag name="TOCTEMPLATESHAPENAME" val="Numéro de section"/>
  <p:tag name="TOCTEMPLATESHAPEDESCRIPTION" val="Définit le format de la forme contenant les numéros de secti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TITLE"/>
  <p:tag name="TOCTEMPLATESHAPENAME" val="Titre de section"/>
  <p:tag name="TOCTEMPLATESHAPEDESCRIPTION" val="Définit le format de la forme contenant les titres de sec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UM"/>
  <p:tag name="TOCTEMPLATESHAPENAME" val="Index des sous-section"/>
  <p:tag name="TOCTEMPLATESHAPEDESCRIPTION" val="Définit le format de la forme contenant les numéros des sou-secti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heme/theme1.xml><?xml version="1.0" encoding="utf-8"?>
<a:theme xmlns:a="http://schemas.openxmlformats.org/drawingml/2006/main" name="Engie Consulting">
  <a:themeElements>
    <a:clrScheme name="Engie 2022">
      <a:dk1>
        <a:srgbClr val="003C56"/>
      </a:dk1>
      <a:lt1>
        <a:sysClr val="window" lastClr="FFFFFF"/>
      </a:lt1>
      <a:dk2>
        <a:srgbClr val="007E96"/>
      </a:dk2>
      <a:lt2>
        <a:srgbClr val="E7E6E6"/>
      </a:lt2>
      <a:accent1>
        <a:srgbClr val="00BCFC"/>
      </a:accent1>
      <a:accent2>
        <a:srgbClr val="003C56"/>
      </a:accent2>
      <a:accent3>
        <a:srgbClr val="00817D"/>
      </a:accent3>
      <a:accent4>
        <a:srgbClr val="E18554"/>
      </a:accent4>
      <a:accent5>
        <a:srgbClr val="F4C867"/>
      </a:accent5>
      <a:accent6>
        <a:srgbClr val="67AE6E"/>
      </a:accent6>
      <a:hlink>
        <a:srgbClr val="003C56"/>
      </a:hlink>
      <a:folHlink>
        <a:srgbClr val="007E96"/>
      </a:folHlink>
    </a:clrScheme>
    <a:fontScheme name="Engie Consulting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rtlCol="0" anchor="t">
        <a:no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SlideTemplate" id="{BF71195A-8E0B-450B-8546-00476EAF6C95}" vid="{C69CBEC5-130B-466A-9700-908D16592B26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Engie 2022">
      <a:dk1>
        <a:srgbClr val="003C56"/>
      </a:dk1>
      <a:lt1>
        <a:sysClr val="window" lastClr="FFFFFF"/>
      </a:lt1>
      <a:dk2>
        <a:srgbClr val="007E96"/>
      </a:dk2>
      <a:lt2>
        <a:srgbClr val="E7E6E6"/>
      </a:lt2>
      <a:accent1>
        <a:srgbClr val="00BCFC"/>
      </a:accent1>
      <a:accent2>
        <a:srgbClr val="003C56"/>
      </a:accent2>
      <a:accent3>
        <a:srgbClr val="00817D"/>
      </a:accent3>
      <a:accent4>
        <a:srgbClr val="E18554"/>
      </a:accent4>
      <a:accent5>
        <a:srgbClr val="F4C867"/>
      </a:accent5>
      <a:accent6>
        <a:srgbClr val="67AE6E"/>
      </a:accent6>
      <a:hlink>
        <a:srgbClr val="003C56"/>
      </a:hlink>
      <a:folHlink>
        <a:srgbClr val="007E96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pSlideTemplate" id="{BF71195A-8E0B-450B-8546-00476EAF6C95}" vid="{B897DECD-ACDD-4C13-9182-51763AEA6352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61CCFD0AC00C4EB9DF9462E9BCCC73" ma:contentTypeVersion="12" ma:contentTypeDescription="Create a new document." ma:contentTypeScope="" ma:versionID="1fd0c99dd726479b9b8d30ca6cc49c1f">
  <xsd:schema xmlns:xsd="http://www.w3.org/2001/XMLSchema" xmlns:xs="http://www.w3.org/2001/XMLSchema" xmlns:p="http://schemas.microsoft.com/office/2006/metadata/properties" xmlns:ns2="87037488-ec5d-4aba-84c2-9b1d22638e8e" xmlns:ns3="86663068-5ffa-4d65-ba44-4a9f513fadd2" xmlns:ns4="6c041b97-6a2f-4a2c-97eb-fcb4a97edd61" targetNamespace="http://schemas.microsoft.com/office/2006/metadata/properties" ma:root="true" ma:fieldsID="bdc136d4abcac3dd91ce21384f1d8607" ns2:_="" ns3:_="" ns4:_="">
    <xsd:import namespace="87037488-ec5d-4aba-84c2-9b1d22638e8e"/>
    <xsd:import namespace="86663068-5ffa-4d65-ba44-4a9f513fadd2"/>
    <xsd:import namespace="6c041b97-6a2f-4a2c-97eb-fcb4a97edd61"/>
    <xsd:element name="properties">
      <xsd:complexType>
        <xsd:sequence>
          <xsd:element name="documentManagement">
            <xsd:complexType>
              <xsd:all>
                <xsd:element ref="ns2:b1b820adfd3e4a078472514c1a5cb5ff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3:MediaServiceSearchPropertie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9e0840f-f5f8-4956-a8c1-fc97c638b973}" ma:internalName="TaxCatchAll" ma:showField="CatchAllData" ma:web="6c041b97-6a2f-4a2c-97eb-fcb4a97edd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9e0840f-f5f8-4956-a8c1-fc97c638b973}" ma:internalName="TaxCatchAllLabel" ma:readOnly="true" ma:showField="CatchAllDataLabel" ma:web="6c041b97-6a2f-4a2c-97eb-fcb4a97edd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63068-5ffa-4d65-ba44-4a9f513fad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041b97-6a2f-4a2c-97eb-fcb4a97edd6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041b97-6a2f-4a2c-97eb-fcb4a97edd61">
      <UserInfo>
        <DisplayName>LACOMBLE Yves (Renewable Gases Europe)</DisplayName>
        <AccountId>12</AccountId>
        <AccountType/>
      </UserInfo>
    </SharedWithUsers>
    <b1b820adfd3e4a078472514c1a5cb5ff xmlns="87037488-ec5d-4aba-84c2-9b1d22638e8e">
      <Terms xmlns="http://schemas.microsoft.com/office/infopath/2007/PartnerControls"/>
    </b1b820adfd3e4a078472514c1a5cb5ff>
    <TaxCatchAll xmlns="87037488-ec5d-4aba-84c2-9b1d22638e8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3bf472f7-a010-4b5a-bb99-a26ed4c99680" ContentTypeId="0x0101" PreviousValue="false"/>
</file>

<file path=customXml/itemProps1.xml><?xml version="1.0" encoding="utf-8"?>
<ds:datastoreItem xmlns:ds="http://schemas.openxmlformats.org/officeDocument/2006/customXml" ds:itemID="{B40872F4-171E-4FE0-8937-1193E2DC68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037488-ec5d-4aba-84c2-9b1d22638e8e"/>
    <ds:schemaRef ds:uri="86663068-5ffa-4d65-ba44-4a9f513fadd2"/>
    <ds:schemaRef ds:uri="6c041b97-6a2f-4a2c-97eb-fcb4a97edd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CF940C4-A36D-42AC-80CC-01CA379A54F6}">
  <ds:schemaRefs>
    <ds:schemaRef ds:uri="http://purl.org/dc/dcmitype/"/>
    <ds:schemaRef ds:uri="http://schemas.microsoft.com/office/2006/documentManagement/types"/>
    <ds:schemaRef ds:uri="d13e4168-98df-41d7-b149-4695ca5f0ff9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d1f8066f-9022-4425-a257-968d2e90610f"/>
    <ds:schemaRef ds:uri="http://purl.org/dc/terms/"/>
    <ds:schemaRef ds:uri="6c041b97-6a2f-4a2c-97eb-fcb4a97edd61"/>
    <ds:schemaRef ds:uri="87037488-ec5d-4aba-84c2-9b1d22638e8e"/>
  </ds:schemaRefs>
</ds:datastoreItem>
</file>

<file path=customXml/itemProps3.xml><?xml version="1.0" encoding="utf-8"?>
<ds:datastoreItem xmlns:ds="http://schemas.openxmlformats.org/officeDocument/2006/customXml" ds:itemID="{77A3A8ED-2FAC-415C-933D-8BFBFB31197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E39A766-0632-44AB-A340-1FDD4D0AFA1A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c135c4ba-2280-41f8-be7d-6f21d368baa3}" enabled="1" method="Standard" siteId="{24139d14-c62c-4c47-8bdd-ce71ea1d50c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1</Words>
  <Application>Microsoft Office PowerPoint</Application>
  <PresentationFormat>Widescreen</PresentationFormat>
  <Paragraphs>45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Yu Mincho</vt:lpstr>
      <vt:lpstr>Arial</vt:lpstr>
      <vt:lpstr>Arial Black</vt:lpstr>
      <vt:lpstr>Arial Nova Cond</vt:lpstr>
      <vt:lpstr>Calibri</vt:lpstr>
      <vt:lpstr>Garamond</vt:lpstr>
      <vt:lpstr>Mission Gothic Regular</vt:lpstr>
      <vt:lpstr>Segoe UI Light</vt:lpstr>
      <vt:lpstr>Wingdings</vt:lpstr>
      <vt:lpstr>Engie Consulting</vt:lpstr>
      <vt:lpstr>UpSlide Table Of Content Master (do not edit)</vt:lpstr>
      <vt:lpstr>Biomethane, a flexible renewable energy for decarboniz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avancement + prochaines étapes pour Antoine</dc:title>
  <dc:creator>VILLEPELET Marine (ENGIE Consulting)</dc:creator>
  <cp:lastModifiedBy>MCKEON Rob (ENGIE Renewable Gases UK)</cp:lastModifiedBy>
  <cp:revision>2</cp:revision>
  <dcterms:created xsi:type="dcterms:W3CDTF">2023-10-10T13:51:37Z</dcterms:created>
  <dcterms:modified xsi:type="dcterms:W3CDTF">2025-01-28T08:5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35c4ba-2280-41f8-be7d-6f21d368baa3_Enabled">
    <vt:lpwstr>true</vt:lpwstr>
  </property>
  <property fmtid="{D5CDD505-2E9C-101B-9397-08002B2CF9AE}" pid="3" name="MSIP_Label_c135c4ba-2280-41f8-be7d-6f21d368baa3_SetDate">
    <vt:lpwstr>2022-06-09T09:47:52Z</vt:lpwstr>
  </property>
  <property fmtid="{D5CDD505-2E9C-101B-9397-08002B2CF9AE}" pid="4" name="MSIP_Label_c135c4ba-2280-41f8-be7d-6f21d368baa3_Method">
    <vt:lpwstr>Standard</vt:lpwstr>
  </property>
  <property fmtid="{D5CDD505-2E9C-101B-9397-08002B2CF9AE}" pid="5" name="MSIP_Label_c135c4ba-2280-41f8-be7d-6f21d368baa3_Name">
    <vt:lpwstr>c135c4ba-2280-41f8-be7d-6f21d368baa3</vt:lpwstr>
  </property>
  <property fmtid="{D5CDD505-2E9C-101B-9397-08002B2CF9AE}" pid="6" name="MSIP_Label_c135c4ba-2280-41f8-be7d-6f21d368baa3_SiteId">
    <vt:lpwstr>24139d14-c62c-4c47-8bdd-ce71ea1d50cf</vt:lpwstr>
  </property>
  <property fmtid="{D5CDD505-2E9C-101B-9397-08002B2CF9AE}" pid="7" name="MSIP_Label_c135c4ba-2280-41f8-be7d-6f21d368baa3_ActionId">
    <vt:lpwstr>c7773cc9-4974-4163-a79c-3230c2362a39</vt:lpwstr>
  </property>
  <property fmtid="{D5CDD505-2E9C-101B-9397-08002B2CF9AE}" pid="8" name="MSIP_Label_c135c4ba-2280-41f8-be7d-6f21d368baa3_ContentBits">
    <vt:lpwstr>0</vt:lpwstr>
  </property>
  <property fmtid="{D5CDD505-2E9C-101B-9397-08002B2CF9AE}" pid="9" name="ContentTypeId">
    <vt:lpwstr>0x010100C261CCFD0AC00C4EB9DF9462E9BCCC73</vt:lpwstr>
  </property>
  <property fmtid="{D5CDD505-2E9C-101B-9397-08002B2CF9AE}" pid="10" name="Security Classification">
    <vt:lpwstr/>
  </property>
  <property fmtid="{D5CDD505-2E9C-101B-9397-08002B2CF9AE}" pid="11" name="MediaServiceImageTags">
    <vt:lpwstr/>
  </property>
  <property fmtid="{D5CDD505-2E9C-101B-9397-08002B2CF9AE}" pid="12" name="Security_x0020_Classification">
    <vt:lpwstr/>
  </property>
</Properties>
</file>